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2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19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notesSlides/notesSlide27.xml" ContentType="application/vnd.openxmlformats-officedocument.presentationml.notesSlid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1"/>
    <p:sldMasterId id="2147483673" r:id="rId2"/>
    <p:sldMasterId id="2147483687" r:id="rId3"/>
  </p:sldMasterIdLst>
  <p:notesMasterIdLst>
    <p:notesMasterId r:id="rId48"/>
  </p:notesMasterIdLst>
  <p:sldIdLst>
    <p:sldId id="1722" r:id="rId4"/>
    <p:sldId id="4642" r:id="rId5"/>
    <p:sldId id="1731" r:id="rId6"/>
    <p:sldId id="1635" r:id="rId7"/>
    <p:sldId id="2260" r:id="rId8"/>
    <p:sldId id="2261" r:id="rId9"/>
    <p:sldId id="2244" r:id="rId10"/>
    <p:sldId id="4630" r:id="rId11"/>
    <p:sldId id="4631" r:id="rId12"/>
    <p:sldId id="1726" r:id="rId13"/>
    <p:sldId id="4627" r:id="rId14"/>
    <p:sldId id="1728" r:id="rId15"/>
    <p:sldId id="4668" r:id="rId16"/>
    <p:sldId id="2262" r:id="rId17"/>
    <p:sldId id="2263" r:id="rId18"/>
    <p:sldId id="4671" r:id="rId19"/>
    <p:sldId id="2272" r:id="rId20"/>
    <p:sldId id="2274" r:id="rId21"/>
    <p:sldId id="2276" r:id="rId22"/>
    <p:sldId id="4643" r:id="rId23"/>
    <p:sldId id="1482" r:id="rId24"/>
    <p:sldId id="1091" r:id="rId25"/>
    <p:sldId id="4651" r:id="rId26"/>
    <p:sldId id="4652" r:id="rId27"/>
    <p:sldId id="4653" r:id="rId28"/>
    <p:sldId id="4640" r:id="rId29"/>
    <p:sldId id="4655" r:id="rId30"/>
    <p:sldId id="4656" r:id="rId31"/>
    <p:sldId id="4657" r:id="rId32"/>
    <p:sldId id="1171" r:id="rId33"/>
    <p:sldId id="1483" r:id="rId34"/>
    <p:sldId id="2388" r:id="rId35"/>
    <p:sldId id="4658" r:id="rId36"/>
    <p:sldId id="4659" r:id="rId37"/>
    <p:sldId id="4660" r:id="rId38"/>
    <p:sldId id="4661" r:id="rId39"/>
    <p:sldId id="4662" r:id="rId40"/>
    <p:sldId id="4663" r:id="rId41"/>
    <p:sldId id="4664" r:id="rId42"/>
    <p:sldId id="4665" r:id="rId43"/>
    <p:sldId id="4589" r:id="rId44"/>
    <p:sldId id="4669" r:id="rId45"/>
    <p:sldId id="4670" r:id="rId46"/>
    <p:sldId id="4666" r:id="rId47"/>
  </p:sldIdLst>
  <p:sldSz cx="12192000" cy="6858000"/>
  <p:notesSz cx="6858000" cy="9144000"/>
  <p:embeddedFontLst>
    <p:embeddedFont>
      <p:font typeface="Calibri" panose="020F0502020204030204" pitchFamily="34" charset="0"/>
      <p:regular r:id="rId49"/>
      <p:bold r:id="rId50"/>
      <p:italic r:id="rId51"/>
      <p:boldItalic r:id="rId52"/>
    </p:embeddedFont>
    <p:embeddedFont>
      <p:font typeface="Calibri Light" panose="020F0302020204030204" pitchFamily="34" charset="0"/>
      <p:regular r:id="rId53"/>
      <p:italic r:id="rId54"/>
    </p:embeddedFont>
  </p:embeddedFontLst>
  <p:custDataLst>
    <p:tags r:id="rId55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FF00"/>
    <a:srgbClr val="FF00FF"/>
    <a:srgbClr val="000000"/>
    <a:srgbClr val="F3D9DC"/>
    <a:srgbClr val="EFCCCF"/>
    <a:srgbClr val="FFFFFF"/>
    <a:srgbClr val="F7E7E9"/>
    <a:srgbClr val="B0C2E5"/>
    <a:srgbClr val="7191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96" autoAdjust="0"/>
    <p:restoredTop sz="96327" autoAdjust="0"/>
  </p:normalViewPr>
  <p:slideViewPr>
    <p:cSldViewPr snapToGrid="0">
      <p:cViewPr varScale="1">
        <p:scale>
          <a:sx n="104" d="100"/>
          <a:sy n="104" d="100"/>
        </p:scale>
        <p:origin x="294" y="132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font" Target="fonts/font2.fntdata"/><Relationship Id="rId55" Type="http://schemas.openxmlformats.org/officeDocument/2006/relationships/tags" Target="tags/tag1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font" Target="fonts/font5.fntdata"/><Relationship Id="rId58" Type="http://schemas.openxmlformats.org/officeDocument/2006/relationships/theme" Target="theme/theme1.xml"/><Relationship Id="rId5" Type="http://schemas.openxmlformats.org/officeDocument/2006/relationships/slide" Target="slides/slide2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notesMaster" Target="notesMasters/notesMaster1.xml"/><Relationship Id="rId56" Type="http://schemas.openxmlformats.org/officeDocument/2006/relationships/presProps" Target="presProps.xml"/><Relationship Id="rId8" Type="http://schemas.openxmlformats.org/officeDocument/2006/relationships/slide" Target="slides/slide5.xml"/><Relationship Id="rId51" Type="http://schemas.openxmlformats.org/officeDocument/2006/relationships/font" Target="fonts/font3.fntdata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tableStyles" Target="tableStyles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font" Target="fonts/font6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font" Target="fonts/font1.fntdata"/><Relationship Id="rId57" Type="http://schemas.openxmlformats.org/officeDocument/2006/relationships/viewProps" Target="viewProps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font" Target="fonts/font4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315185741682282E-2"/>
          <c:y val="2.6417447585936279E-2"/>
          <c:w val="0.76661183243453179"/>
          <c:h val="0.87026380483546251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ZP celkem</c:v>
                </c:pt>
              </c:strCache>
            </c:strRef>
          </c:tx>
          <c:spPr>
            <a:ln w="28575" cap="rnd">
              <a:solidFill>
                <a:srgbClr val="000000"/>
              </a:solidFill>
              <a:round/>
            </a:ln>
            <a:effectLst/>
          </c:spPr>
          <c:marker>
            <c:symbol val="none"/>
          </c:marker>
          <c:cat>
            <c:strRef>
              <c:f>List1!$F$1:$MK$1</c:f>
              <c:strCache>
                <c:ptCount val="344"/>
                <c:pt idx="0">
                  <c:v>24-XII.</c:v>
                </c:pt>
                <c:pt idx="1">
                  <c:v>25-XII.</c:v>
                </c:pt>
                <c:pt idx="2">
                  <c:v>26-XII.</c:v>
                </c:pt>
                <c:pt idx="3">
                  <c:v>27-XII.</c:v>
                </c:pt>
                <c:pt idx="4">
                  <c:v>28-XII.</c:v>
                </c:pt>
                <c:pt idx="5">
                  <c:v>29-XII.</c:v>
                </c:pt>
                <c:pt idx="6">
                  <c:v>30-XII.</c:v>
                </c:pt>
                <c:pt idx="7">
                  <c:v>31-XII.</c:v>
                </c:pt>
                <c:pt idx="8">
                  <c:v>1-I.</c:v>
                </c:pt>
                <c:pt idx="9">
                  <c:v>2-I.</c:v>
                </c:pt>
                <c:pt idx="10">
                  <c:v>3-I.</c:v>
                </c:pt>
                <c:pt idx="11">
                  <c:v>4-I.</c:v>
                </c:pt>
                <c:pt idx="12">
                  <c:v>5-I.</c:v>
                </c:pt>
                <c:pt idx="13">
                  <c:v>6-I.</c:v>
                </c:pt>
                <c:pt idx="14">
                  <c:v>7-I.</c:v>
                </c:pt>
                <c:pt idx="15">
                  <c:v>8-I.</c:v>
                </c:pt>
                <c:pt idx="16">
                  <c:v>9-I.</c:v>
                </c:pt>
                <c:pt idx="17">
                  <c:v>10-I.</c:v>
                </c:pt>
                <c:pt idx="18">
                  <c:v>11-I.</c:v>
                </c:pt>
                <c:pt idx="19">
                  <c:v>12-I.</c:v>
                </c:pt>
                <c:pt idx="20">
                  <c:v>13-I.</c:v>
                </c:pt>
                <c:pt idx="21">
                  <c:v>14-I.</c:v>
                </c:pt>
                <c:pt idx="22">
                  <c:v>15-I.</c:v>
                </c:pt>
                <c:pt idx="23">
                  <c:v>16-I.</c:v>
                </c:pt>
                <c:pt idx="24">
                  <c:v>17-I.</c:v>
                </c:pt>
                <c:pt idx="25">
                  <c:v>18-I.</c:v>
                </c:pt>
                <c:pt idx="26">
                  <c:v>19-I.</c:v>
                </c:pt>
                <c:pt idx="27">
                  <c:v>20-I.</c:v>
                </c:pt>
                <c:pt idx="28">
                  <c:v>21-I.</c:v>
                </c:pt>
                <c:pt idx="29">
                  <c:v>22-I.</c:v>
                </c:pt>
                <c:pt idx="30">
                  <c:v>23-I.</c:v>
                </c:pt>
                <c:pt idx="31">
                  <c:v>24-I.</c:v>
                </c:pt>
                <c:pt idx="32">
                  <c:v>25-I.</c:v>
                </c:pt>
                <c:pt idx="33">
                  <c:v>26-I.</c:v>
                </c:pt>
                <c:pt idx="34">
                  <c:v>27-I.</c:v>
                </c:pt>
                <c:pt idx="35">
                  <c:v>28-I.</c:v>
                </c:pt>
                <c:pt idx="36">
                  <c:v>29-I.</c:v>
                </c:pt>
                <c:pt idx="37">
                  <c:v>30-I.</c:v>
                </c:pt>
                <c:pt idx="38">
                  <c:v>31-I.</c:v>
                </c:pt>
                <c:pt idx="39">
                  <c:v>1-II.</c:v>
                </c:pt>
                <c:pt idx="40">
                  <c:v>2-II.</c:v>
                </c:pt>
                <c:pt idx="41">
                  <c:v>3-II.</c:v>
                </c:pt>
                <c:pt idx="42">
                  <c:v>4-II.</c:v>
                </c:pt>
                <c:pt idx="43">
                  <c:v>5-II.</c:v>
                </c:pt>
                <c:pt idx="44">
                  <c:v>6-II.</c:v>
                </c:pt>
                <c:pt idx="45">
                  <c:v>7-II.</c:v>
                </c:pt>
                <c:pt idx="46">
                  <c:v>8-II.</c:v>
                </c:pt>
                <c:pt idx="47">
                  <c:v>9-II.</c:v>
                </c:pt>
                <c:pt idx="48">
                  <c:v>10-II.</c:v>
                </c:pt>
                <c:pt idx="49">
                  <c:v>11-II.</c:v>
                </c:pt>
                <c:pt idx="50">
                  <c:v>12-II.</c:v>
                </c:pt>
                <c:pt idx="51">
                  <c:v>13-II.</c:v>
                </c:pt>
                <c:pt idx="52">
                  <c:v>14-II.</c:v>
                </c:pt>
                <c:pt idx="53">
                  <c:v>15-II.</c:v>
                </c:pt>
                <c:pt idx="54">
                  <c:v>16-II.</c:v>
                </c:pt>
                <c:pt idx="55">
                  <c:v>17-II.</c:v>
                </c:pt>
                <c:pt idx="56">
                  <c:v>18-II.</c:v>
                </c:pt>
                <c:pt idx="57">
                  <c:v>19-II.</c:v>
                </c:pt>
                <c:pt idx="58">
                  <c:v>20-II.</c:v>
                </c:pt>
                <c:pt idx="59">
                  <c:v>21-II.</c:v>
                </c:pt>
                <c:pt idx="60">
                  <c:v>22-II.</c:v>
                </c:pt>
                <c:pt idx="61">
                  <c:v>23-II.</c:v>
                </c:pt>
                <c:pt idx="62">
                  <c:v>24-II.</c:v>
                </c:pt>
                <c:pt idx="63">
                  <c:v>25-II.</c:v>
                </c:pt>
                <c:pt idx="64">
                  <c:v>26-II.</c:v>
                </c:pt>
                <c:pt idx="65">
                  <c:v>27-II.</c:v>
                </c:pt>
                <c:pt idx="66">
                  <c:v>28-II.</c:v>
                </c:pt>
                <c:pt idx="67">
                  <c:v>1-III.</c:v>
                </c:pt>
                <c:pt idx="68">
                  <c:v>2-III.</c:v>
                </c:pt>
                <c:pt idx="69">
                  <c:v>3-III.</c:v>
                </c:pt>
                <c:pt idx="70">
                  <c:v>4-III.</c:v>
                </c:pt>
                <c:pt idx="71">
                  <c:v>5-III.</c:v>
                </c:pt>
                <c:pt idx="72">
                  <c:v>6-III.</c:v>
                </c:pt>
                <c:pt idx="73">
                  <c:v>7-III.</c:v>
                </c:pt>
                <c:pt idx="74">
                  <c:v>8-III.</c:v>
                </c:pt>
                <c:pt idx="75">
                  <c:v>9-III.</c:v>
                </c:pt>
                <c:pt idx="76">
                  <c:v>10-III.</c:v>
                </c:pt>
                <c:pt idx="77">
                  <c:v>11-III.</c:v>
                </c:pt>
                <c:pt idx="78">
                  <c:v>12-III.</c:v>
                </c:pt>
                <c:pt idx="79">
                  <c:v>13-III.</c:v>
                </c:pt>
                <c:pt idx="80">
                  <c:v>14-III.</c:v>
                </c:pt>
                <c:pt idx="81">
                  <c:v>15-III.</c:v>
                </c:pt>
                <c:pt idx="82">
                  <c:v>16-III.</c:v>
                </c:pt>
                <c:pt idx="83">
                  <c:v>17-III.</c:v>
                </c:pt>
                <c:pt idx="84">
                  <c:v>18-III.</c:v>
                </c:pt>
                <c:pt idx="85">
                  <c:v>19-III.</c:v>
                </c:pt>
                <c:pt idx="86">
                  <c:v>20-III.</c:v>
                </c:pt>
                <c:pt idx="87">
                  <c:v>21-III.</c:v>
                </c:pt>
                <c:pt idx="88">
                  <c:v>22-III.</c:v>
                </c:pt>
                <c:pt idx="89">
                  <c:v>23-III.</c:v>
                </c:pt>
                <c:pt idx="90">
                  <c:v>24-III.</c:v>
                </c:pt>
                <c:pt idx="91">
                  <c:v>25-III.</c:v>
                </c:pt>
                <c:pt idx="92">
                  <c:v>26-III.</c:v>
                </c:pt>
                <c:pt idx="93">
                  <c:v>27-III.</c:v>
                </c:pt>
                <c:pt idx="94">
                  <c:v>28-III.</c:v>
                </c:pt>
                <c:pt idx="95">
                  <c:v>29-III.</c:v>
                </c:pt>
                <c:pt idx="96">
                  <c:v>30-III.</c:v>
                </c:pt>
                <c:pt idx="97">
                  <c:v>31-III.</c:v>
                </c:pt>
                <c:pt idx="98">
                  <c:v>1-IV.</c:v>
                </c:pt>
                <c:pt idx="99">
                  <c:v>2-IV.</c:v>
                </c:pt>
                <c:pt idx="100">
                  <c:v>3-IV.</c:v>
                </c:pt>
                <c:pt idx="101">
                  <c:v>4-IV.</c:v>
                </c:pt>
                <c:pt idx="102">
                  <c:v>5-IV.</c:v>
                </c:pt>
                <c:pt idx="103">
                  <c:v>6-IV.</c:v>
                </c:pt>
                <c:pt idx="104">
                  <c:v>7-IV.</c:v>
                </c:pt>
                <c:pt idx="105">
                  <c:v>8-IV.</c:v>
                </c:pt>
                <c:pt idx="106">
                  <c:v>9-IV.</c:v>
                </c:pt>
                <c:pt idx="107">
                  <c:v>10-IV.</c:v>
                </c:pt>
                <c:pt idx="108">
                  <c:v>11-IV.</c:v>
                </c:pt>
                <c:pt idx="109">
                  <c:v>12-IV.</c:v>
                </c:pt>
                <c:pt idx="110">
                  <c:v>13-IV.</c:v>
                </c:pt>
                <c:pt idx="111">
                  <c:v>14-IV.</c:v>
                </c:pt>
                <c:pt idx="112">
                  <c:v>15-IV.</c:v>
                </c:pt>
                <c:pt idx="113">
                  <c:v>16-IV.</c:v>
                </c:pt>
                <c:pt idx="114">
                  <c:v>17-IV.</c:v>
                </c:pt>
                <c:pt idx="115">
                  <c:v>18-IV.</c:v>
                </c:pt>
                <c:pt idx="116">
                  <c:v>19-IV.</c:v>
                </c:pt>
                <c:pt idx="117">
                  <c:v>20-IV.</c:v>
                </c:pt>
                <c:pt idx="118">
                  <c:v>21-IV.</c:v>
                </c:pt>
                <c:pt idx="119">
                  <c:v>22-IV.</c:v>
                </c:pt>
                <c:pt idx="120">
                  <c:v>23-IV.</c:v>
                </c:pt>
                <c:pt idx="121">
                  <c:v>24-IV.</c:v>
                </c:pt>
                <c:pt idx="122">
                  <c:v>25-IV.</c:v>
                </c:pt>
                <c:pt idx="123">
                  <c:v>26-IV.</c:v>
                </c:pt>
                <c:pt idx="124">
                  <c:v>27-IV.</c:v>
                </c:pt>
                <c:pt idx="125">
                  <c:v>28-IV.</c:v>
                </c:pt>
                <c:pt idx="126">
                  <c:v>29-IV.</c:v>
                </c:pt>
                <c:pt idx="127">
                  <c:v>30-IV.</c:v>
                </c:pt>
                <c:pt idx="128">
                  <c:v>1-V.</c:v>
                </c:pt>
                <c:pt idx="129">
                  <c:v>2-V.</c:v>
                </c:pt>
                <c:pt idx="130">
                  <c:v>3-V.</c:v>
                </c:pt>
                <c:pt idx="131">
                  <c:v>4-V.</c:v>
                </c:pt>
                <c:pt idx="132">
                  <c:v>5-V.</c:v>
                </c:pt>
                <c:pt idx="133">
                  <c:v>6-V.</c:v>
                </c:pt>
                <c:pt idx="134">
                  <c:v>7-V.</c:v>
                </c:pt>
                <c:pt idx="135">
                  <c:v>8-V.</c:v>
                </c:pt>
                <c:pt idx="136">
                  <c:v>9-V.</c:v>
                </c:pt>
                <c:pt idx="137">
                  <c:v>10-V.</c:v>
                </c:pt>
                <c:pt idx="138">
                  <c:v>11-V.</c:v>
                </c:pt>
                <c:pt idx="139">
                  <c:v>12-V.</c:v>
                </c:pt>
                <c:pt idx="140">
                  <c:v>13-V.</c:v>
                </c:pt>
                <c:pt idx="141">
                  <c:v>14-V.</c:v>
                </c:pt>
                <c:pt idx="142">
                  <c:v>15-V.</c:v>
                </c:pt>
                <c:pt idx="143">
                  <c:v>16-V.</c:v>
                </c:pt>
                <c:pt idx="144">
                  <c:v>17-V.</c:v>
                </c:pt>
                <c:pt idx="145">
                  <c:v>18-V.</c:v>
                </c:pt>
                <c:pt idx="146">
                  <c:v>19-V.</c:v>
                </c:pt>
                <c:pt idx="147">
                  <c:v>20-V.</c:v>
                </c:pt>
                <c:pt idx="148">
                  <c:v>21-V.</c:v>
                </c:pt>
                <c:pt idx="149">
                  <c:v>22-V.</c:v>
                </c:pt>
                <c:pt idx="150">
                  <c:v>23-V.</c:v>
                </c:pt>
                <c:pt idx="151">
                  <c:v>24-V.</c:v>
                </c:pt>
                <c:pt idx="152">
                  <c:v>25-V.</c:v>
                </c:pt>
                <c:pt idx="153">
                  <c:v>26-V.</c:v>
                </c:pt>
                <c:pt idx="154">
                  <c:v>27-V.</c:v>
                </c:pt>
                <c:pt idx="155">
                  <c:v>28-V.</c:v>
                </c:pt>
                <c:pt idx="156">
                  <c:v>29-V.</c:v>
                </c:pt>
                <c:pt idx="157">
                  <c:v>30-V.</c:v>
                </c:pt>
                <c:pt idx="158">
                  <c:v>31-V.</c:v>
                </c:pt>
                <c:pt idx="159">
                  <c:v>1-VI.</c:v>
                </c:pt>
                <c:pt idx="160">
                  <c:v>2-VI.</c:v>
                </c:pt>
                <c:pt idx="161">
                  <c:v>3-VI.</c:v>
                </c:pt>
                <c:pt idx="162">
                  <c:v>4-VI.</c:v>
                </c:pt>
                <c:pt idx="163">
                  <c:v>5-VI.</c:v>
                </c:pt>
                <c:pt idx="164">
                  <c:v>6-VI.</c:v>
                </c:pt>
                <c:pt idx="165">
                  <c:v>7-VI.</c:v>
                </c:pt>
                <c:pt idx="166">
                  <c:v>8-VI.</c:v>
                </c:pt>
                <c:pt idx="167">
                  <c:v>9-VI.</c:v>
                </c:pt>
                <c:pt idx="168">
                  <c:v>10-VI.</c:v>
                </c:pt>
                <c:pt idx="169">
                  <c:v>11-VI.</c:v>
                </c:pt>
                <c:pt idx="170">
                  <c:v>12-VI.</c:v>
                </c:pt>
                <c:pt idx="171">
                  <c:v>13-VI.</c:v>
                </c:pt>
                <c:pt idx="172">
                  <c:v>14-VI.</c:v>
                </c:pt>
                <c:pt idx="173">
                  <c:v>15-VI.</c:v>
                </c:pt>
                <c:pt idx="174">
                  <c:v>16-VI.</c:v>
                </c:pt>
                <c:pt idx="175">
                  <c:v>17-VI.</c:v>
                </c:pt>
                <c:pt idx="176">
                  <c:v>18-VI.</c:v>
                </c:pt>
                <c:pt idx="177">
                  <c:v>19-VI.</c:v>
                </c:pt>
                <c:pt idx="178">
                  <c:v>20-VI.</c:v>
                </c:pt>
                <c:pt idx="179">
                  <c:v>21-VI.</c:v>
                </c:pt>
                <c:pt idx="180">
                  <c:v>22-VI.</c:v>
                </c:pt>
                <c:pt idx="181">
                  <c:v>23-VI.</c:v>
                </c:pt>
                <c:pt idx="182">
                  <c:v>24-VI.</c:v>
                </c:pt>
                <c:pt idx="183">
                  <c:v>25-VI.</c:v>
                </c:pt>
                <c:pt idx="184">
                  <c:v>26-VI.</c:v>
                </c:pt>
                <c:pt idx="185">
                  <c:v>27-VI.</c:v>
                </c:pt>
                <c:pt idx="186">
                  <c:v>28-VI.</c:v>
                </c:pt>
                <c:pt idx="187">
                  <c:v>29-VI.</c:v>
                </c:pt>
                <c:pt idx="188">
                  <c:v>30-VI.</c:v>
                </c:pt>
                <c:pt idx="189">
                  <c:v>1-VII.</c:v>
                </c:pt>
                <c:pt idx="190">
                  <c:v>2-VII.</c:v>
                </c:pt>
                <c:pt idx="191">
                  <c:v>3-VII.</c:v>
                </c:pt>
                <c:pt idx="192">
                  <c:v>4-VII.</c:v>
                </c:pt>
                <c:pt idx="193">
                  <c:v>5-VII.</c:v>
                </c:pt>
                <c:pt idx="194">
                  <c:v>6-VII.</c:v>
                </c:pt>
                <c:pt idx="195">
                  <c:v>7-VII.</c:v>
                </c:pt>
                <c:pt idx="196">
                  <c:v>8-VII.</c:v>
                </c:pt>
                <c:pt idx="197">
                  <c:v>9-VII.</c:v>
                </c:pt>
                <c:pt idx="198">
                  <c:v>10-VII.</c:v>
                </c:pt>
                <c:pt idx="199">
                  <c:v>11-VII.</c:v>
                </c:pt>
                <c:pt idx="200">
                  <c:v>12-VII.</c:v>
                </c:pt>
                <c:pt idx="201">
                  <c:v>13-VII.</c:v>
                </c:pt>
                <c:pt idx="202">
                  <c:v>14-VII.</c:v>
                </c:pt>
                <c:pt idx="203">
                  <c:v>15-VII.</c:v>
                </c:pt>
                <c:pt idx="204">
                  <c:v>16-VII.</c:v>
                </c:pt>
                <c:pt idx="205">
                  <c:v>17-VII.</c:v>
                </c:pt>
                <c:pt idx="206">
                  <c:v>18-VII.</c:v>
                </c:pt>
                <c:pt idx="207">
                  <c:v>19-VII.</c:v>
                </c:pt>
                <c:pt idx="208">
                  <c:v>20-VII.</c:v>
                </c:pt>
                <c:pt idx="209">
                  <c:v>21-VII.</c:v>
                </c:pt>
                <c:pt idx="210">
                  <c:v>22-VII.</c:v>
                </c:pt>
                <c:pt idx="211">
                  <c:v>23-VII.</c:v>
                </c:pt>
                <c:pt idx="212">
                  <c:v>24-VII.</c:v>
                </c:pt>
                <c:pt idx="213">
                  <c:v>25-VII.</c:v>
                </c:pt>
                <c:pt idx="214">
                  <c:v>26-VII.</c:v>
                </c:pt>
                <c:pt idx="215">
                  <c:v>27-VII.</c:v>
                </c:pt>
                <c:pt idx="216">
                  <c:v>28-VII.</c:v>
                </c:pt>
                <c:pt idx="217">
                  <c:v>29-VII.</c:v>
                </c:pt>
                <c:pt idx="218">
                  <c:v>30-VII.</c:v>
                </c:pt>
                <c:pt idx="219">
                  <c:v>31-VII.</c:v>
                </c:pt>
                <c:pt idx="220">
                  <c:v>1-VIII.</c:v>
                </c:pt>
                <c:pt idx="221">
                  <c:v>2-VIII.</c:v>
                </c:pt>
                <c:pt idx="222">
                  <c:v>3-VIII.</c:v>
                </c:pt>
                <c:pt idx="223">
                  <c:v>4-VIII.</c:v>
                </c:pt>
                <c:pt idx="224">
                  <c:v>5-VIII.</c:v>
                </c:pt>
                <c:pt idx="225">
                  <c:v>6-VIII.</c:v>
                </c:pt>
                <c:pt idx="226">
                  <c:v>7-VIII.</c:v>
                </c:pt>
                <c:pt idx="227">
                  <c:v>8-VIII.</c:v>
                </c:pt>
                <c:pt idx="228">
                  <c:v>9-VIII.</c:v>
                </c:pt>
                <c:pt idx="229">
                  <c:v>10-VIII.</c:v>
                </c:pt>
                <c:pt idx="230">
                  <c:v>11-VIII.</c:v>
                </c:pt>
                <c:pt idx="231">
                  <c:v>12-VIII.</c:v>
                </c:pt>
                <c:pt idx="232">
                  <c:v>13-VIII.</c:v>
                </c:pt>
                <c:pt idx="233">
                  <c:v>14-VIII.</c:v>
                </c:pt>
                <c:pt idx="234">
                  <c:v>15-VIII.</c:v>
                </c:pt>
                <c:pt idx="235">
                  <c:v>16-VIII.</c:v>
                </c:pt>
                <c:pt idx="236">
                  <c:v>17-VIII.</c:v>
                </c:pt>
                <c:pt idx="237">
                  <c:v>18-VIII.</c:v>
                </c:pt>
                <c:pt idx="238">
                  <c:v>19-VIII.</c:v>
                </c:pt>
                <c:pt idx="239">
                  <c:v>20-VIII.</c:v>
                </c:pt>
                <c:pt idx="240">
                  <c:v>21-VIII.</c:v>
                </c:pt>
                <c:pt idx="241">
                  <c:v>22-VIII.</c:v>
                </c:pt>
                <c:pt idx="242">
                  <c:v>23-VIII.</c:v>
                </c:pt>
                <c:pt idx="243">
                  <c:v>24-VIII.</c:v>
                </c:pt>
                <c:pt idx="244">
                  <c:v>25-VIII.</c:v>
                </c:pt>
                <c:pt idx="245">
                  <c:v>26-VIII.</c:v>
                </c:pt>
                <c:pt idx="246">
                  <c:v>27-VIII.</c:v>
                </c:pt>
                <c:pt idx="247">
                  <c:v>28-VIII.</c:v>
                </c:pt>
                <c:pt idx="248">
                  <c:v>29-VIII.</c:v>
                </c:pt>
                <c:pt idx="249">
                  <c:v>30-VIII.</c:v>
                </c:pt>
                <c:pt idx="250">
                  <c:v>31-VIII.</c:v>
                </c:pt>
                <c:pt idx="251">
                  <c:v>1-IX.</c:v>
                </c:pt>
                <c:pt idx="252">
                  <c:v>2-IX.</c:v>
                </c:pt>
                <c:pt idx="253">
                  <c:v>3-IX.</c:v>
                </c:pt>
                <c:pt idx="254">
                  <c:v>4-IX.</c:v>
                </c:pt>
                <c:pt idx="255">
                  <c:v>5-IX.</c:v>
                </c:pt>
                <c:pt idx="256">
                  <c:v>6-IX.</c:v>
                </c:pt>
                <c:pt idx="257">
                  <c:v>7-IX.</c:v>
                </c:pt>
                <c:pt idx="258">
                  <c:v>8-IX.</c:v>
                </c:pt>
                <c:pt idx="259">
                  <c:v>9-IX.</c:v>
                </c:pt>
                <c:pt idx="260">
                  <c:v>10-IX.</c:v>
                </c:pt>
                <c:pt idx="261">
                  <c:v>11-IX.</c:v>
                </c:pt>
                <c:pt idx="262">
                  <c:v>12-IX.</c:v>
                </c:pt>
                <c:pt idx="263">
                  <c:v>13-IX.</c:v>
                </c:pt>
                <c:pt idx="264">
                  <c:v>14-IX.</c:v>
                </c:pt>
                <c:pt idx="265">
                  <c:v>15-IX.</c:v>
                </c:pt>
                <c:pt idx="266">
                  <c:v>16-IX.</c:v>
                </c:pt>
                <c:pt idx="267">
                  <c:v>17-IX.</c:v>
                </c:pt>
                <c:pt idx="268">
                  <c:v>18-IX.</c:v>
                </c:pt>
                <c:pt idx="269">
                  <c:v>19-IX.</c:v>
                </c:pt>
                <c:pt idx="270">
                  <c:v>20-IX.</c:v>
                </c:pt>
                <c:pt idx="271">
                  <c:v>21-IX.</c:v>
                </c:pt>
                <c:pt idx="272">
                  <c:v>22-IX.</c:v>
                </c:pt>
                <c:pt idx="273">
                  <c:v>23-IX.</c:v>
                </c:pt>
                <c:pt idx="274">
                  <c:v>24-IX.</c:v>
                </c:pt>
                <c:pt idx="275">
                  <c:v>25-IX.</c:v>
                </c:pt>
                <c:pt idx="276">
                  <c:v>26-IX.</c:v>
                </c:pt>
                <c:pt idx="277">
                  <c:v>27-IX.</c:v>
                </c:pt>
                <c:pt idx="278">
                  <c:v>28-IX.</c:v>
                </c:pt>
                <c:pt idx="279">
                  <c:v>29-IX.</c:v>
                </c:pt>
                <c:pt idx="280">
                  <c:v>30-IX.</c:v>
                </c:pt>
                <c:pt idx="281">
                  <c:v>1-X.</c:v>
                </c:pt>
                <c:pt idx="282">
                  <c:v>2-X.</c:v>
                </c:pt>
                <c:pt idx="283">
                  <c:v>3-X.</c:v>
                </c:pt>
                <c:pt idx="284">
                  <c:v>4-X.</c:v>
                </c:pt>
                <c:pt idx="285">
                  <c:v>5-X.</c:v>
                </c:pt>
                <c:pt idx="286">
                  <c:v>6-X.</c:v>
                </c:pt>
                <c:pt idx="287">
                  <c:v>7-X.</c:v>
                </c:pt>
                <c:pt idx="288">
                  <c:v>8-X.</c:v>
                </c:pt>
                <c:pt idx="289">
                  <c:v>9-X.</c:v>
                </c:pt>
                <c:pt idx="290">
                  <c:v>10-X.</c:v>
                </c:pt>
                <c:pt idx="291">
                  <c:v>11-X.</c:v>
                </c:pt>
                <c:pt idx="292">
                  <c:v>12-X.</c:v>
                </c:pt>
                <c:pt idx="293">
                  <c:v>13-X.</c:v>
                </c:pt>
                <c:pt idx="294">
                  <c:v>14-X.</c:v>
                </c:pt>
                <c:pt idx="295">
                  <c:v>15-X.</c:v>
                </c:pt>
                <c:pt idx="296">
                  <c:v>16-X.</c:v>
                </c:pt>
                <c:pt idx="297">
                  <c:v>17-X.</c:v>
                </c:pt>
                <c:pt idx="298">
                  <c:v>18-X.</c:v>
                </c:pt>
                <c:pt idx="299">
                  <c:v>19-X.</c:v>
                </c:pt>
                <c:pt idx="300">
                  <c:v>20-X.</c:v>
                </c:pt>
                <c:pt idx="301">
                  <c:v>21-X.</c:v>
                </c:pt>
                <c:pt idx="302">
                  <c:v>22-X.</c:v>
                </c:pt>
                <c:pt idx="303">
                  <c:v>23-X.</c:v>
                </c:pt>
                <c:pt idx="304">
                  <c:v>24-X.</c:v>
                </c:pt>
                <c:pt idx="305">
                  <c:v>25-X.</c:v>
                </c:pt>
                <c:pt idx="306">
                  <c:v>26-X.</c:v>
                </c:pt>
                <c:pt idx="307">
                  <c:v>27-X.</c:v>
                </c:pt>
                <c:pt idx="308">
                  <c:v>28-X.</c:v>
                </c:pt>
                <c:pt idx="309">
                  <c:v>29-X.</c:v>
                </c:pt>
                <c:pt idx="310">
                  <c:v>30-X.</c:v>
                </c:pt>
                <c:pt idx="311">
                  <c:v>31-X.</c:v>
                </c:pt>
                <c:pt idx="312">
                  <c:v>1-XI.</c:v>
                </c:pt>
                <c:pt idx="313">
                  <c:v>2-XI.</c:v>
                </c:pt>
                <c:pt idx="314">
                  <c:v>3-XI.</c:v>
                </c:pt>
                <c:pt idx="315">
                  <c:v>4-XI.</c:v>
                </c:pt>
                <c:pt idx="316">
                  <c:v>5-XI.</c:v>
                </c:pt>
                <c:pt idx="317">
                  <c:v>6-XI.</c:v>
                </c:pt>
                <c:pt idx="318">
                  <c:v>7-XI.</c:v>
                </c:pt>
                <c:pt idx="319">
                  <c:v>8-XI.</c:v>
                </c:pt>
                <c:pt idx="320">
                  <c:v>9-XI.</c:v>
                </c:pt>
                <c:pt idx="321">
                  <c:v>10-XI.</c:v>
                </c:pt>
                <c:pt idx="322">
                  <c:v>11-XI.</c:v>
                </c:pt>
                <c:pt idx="323">
                  <c:v>12-XI.</c:v>
                </c:pt>
                <c:pt idx="324">
                  <c:v>13-XI.</c:v>
                </c:pt>
                <c:pt idx="325">
                  <c:v>14-XI.</c:v>
                </c:pt>
                <c:pt idx="326">
                  <c:v>15-XI.</c:v>
                </c:pt>
                <c:pt idx="327">
                  <c:v>16-XI.</c:v>
                </c:pt>
                <c:pt idx="328">
                  <c:v>17-XI.</c:v>
                </c:pt>
                <c:pt idx="329">
                  <c:v>18-XI.</c:v>
                </c:pt>
                <c:pt idx="330">
                  <c:v>19-XI.</c:v>
                </c:pt>
                <c:pt idx="331">
                  <c:v>20-XI.</c:v>
                </c:pt>
                <c:pt idx="332">
                  <c:v>21-XI.</c:v>
                </c:pt>
                <c:pt idx="333">
                  <c:v>22-XI.</c:v>
                </c:pt>
                <c:pt idx="334">
                  <c:v>23-XI.</c:v>
                </c:pt>
                <c:pt idx="335">
                  <c:v>24-XI.</c:v>
                </c:pt>
                <c:pt idx="336">
                  <c:v>25-XI.</c:v>
                </c:pt>
                <c:pt idx="337">
                  <c:v>26-XI.</c:v>
                </c:pt>
                <c:pt idx="338">
                  <c:v>27-XI.</c:v>
                </c:pt>
                <c:pt idx="339">
                  <c:v>28-XI.</c:v>
                </c:pt>
                <c:pt idx="340">
                  <c:v>29-XI.</c:v>
                </c:pt>
                <c:pt idx="341">
                  <c:v>30-XI.</c:v>
                </c:pt>
                <c:pt idx="342">
                  <c:v>1-XII.</c:v>
                </c:pt>
                <c:pt idx="343">
                  <c:v>2-XII.</c:v>
                </c:pt>
              </c:strCache>
            </c:strRef>
          </c:cat>
          <c:val>
            <c:numRef>
              <c:f>List1!$F$2:$MK$2</c:f>
              <c:numCache>
                <c:formatCode>General</c:formatCode>
                <c:ptCount val="344"/>
                <c:pt idx="3">
                  <c:v>1049</c:v>
                </c:pt>
                <c:pt idx="4">
                  <c:v>2944</c:v>
                </c:pt>
                <c:pt idx="5">
                  <c:v>5609</c:v>
                </c:pt>
                <c:pt idx="6">
                  <c:v>8311</c:v>
                </c:pt>
                <c:pt idx="7">
                  <c:v>9201</c:v>
                </c:pt>
                <c:pt idx="8">
                  <c:v>9438</c:v>
                </c:pt>
                <c:pt idx="9">
                  <c:v>10601</c:v>
                </c:pt>
                <c:pt idx="10">
                  <c:v>11442</c:v>
                </c:pt>
                <c:pt idx="11">
                  <c:v>14614</c:v>
                </c:pt>
                <c:pt idx="12">
                  <c:v>18538</c:v>
                </c:pt>
                <c:pt idx="13">
                  <c:v>23463</c:v>
                </c:pt>
                <c:pt idx="14">
                  <c:v>29293</c:v>
                </c:pt>
                <c:pt idx="15">
                  <c:v>36081</c:v>
                </c:pt>
                <c:pt idx="16">
                  <c:v>37243</c:v>
                </c:pt>
                <c:pt idx="17">
                  <c:v>38196</c:v>
                </c:pt>
                <c:pt idx="18">
                  <c:v>44614</c:v>
                </c:pt>
                <c:pt idx="19">
                  <c:v>52043</c:v>
                </c:pt>
                <c:pt idx="20">
                  <c:v>58648</c:v>
                </c:pt>
                <c:pt idx="21">
                  <c:v>65627</c:v>
                </c:pt>
                <c:pt idx="22">
                  <c:v>71828</c:v>
                </c:pt>
                <c:pt idx="23">
                  <c:v>72763</c:v>
                </c:pt>
                <c:pt idx="24">
                  <c:v>73312</c:v>
                </c:pt>
                <c:pt idx="25">
                  <c:v>78001</c:v>
                </c:pt>
                <c:pt idx="26">
                  <c:v>81811</c:v>
                </c:pt>
                <c:pt idx="27">
                  <c:v>85525</c:v>
                </c:pt>
                <c:pt idx="28">
                  <c:v>88917</c:v>
                </c:pt>
                <c:pt idx="29">
                  <c:v>91807</c:v>
                </c:pt>
                <c:pt idx="30">
                  <c:v>92198</c:v>
                </c:pt>
                <c:pt idx="31">
                  <c:v>92433</c:v>
                </c:pt>
                <c:pt idx="32">
                  <c:v>94040</c:v>
                </c:pt>
                <c:pt idx="33">
                  <c:v>95810</c:v>
                </c:pt>
                <c:pt idx="34">
                  <c:v>97260</c:v>
                </c:pt>
                <c:pt idx="35">
                  <c:v>98646</c:v>
                </c:pt>
                <c:pt idx="36">
                  <c:v>99924</c:v>
                </c:pt>
                <c:pt idx="37">
                  <c:v>99996</c:v>
                </c:pt>
                <c:pt idx="38">
                  <c:v>100067</c:v>
                </c:pt>
                <c:pt idx="39">
                  <c:v>100959</c:v>
                </c:pt>
                <c:pt idx="40">
                  <c:v>101826</c:v>
                </c:pt>
                <c:pt idx="41">
                  <c:v>102642</c:v>
                </c:pt>
                <c:pt idx="42">
                  <c:v>103351</c:v>
                </c:pt>
                <c:pt idx="43">
                  <c:v>104279</c:v>
                </c:pt>
                <c:pt idx="44">
                  <c:v>104329</c:v>
                </c:pt>
                <c:pt idx="45">
                  <c:v>104379</c:v>
                </c:pt>
                <c:pt idx="46">
                  <c:v>105020</c:v>
                </c:pt>
                <c:pt idx="47">
                  <c:v>105674</c:v>
                </c:pt>
                <c:pt idx="48">
                  <c:v>106539</c:v>
                </c:pt>
                <c:pt idx="49">
                  <c:v>107592</c:v>
                </c:pt>
                <c:pt idx="50">
                  <c:v>108793</c:v>
                </c:pt>
                <c:pt idx="51">
                  <c:v>109176</c:v>
                </c:pt>
                <c:pt idx="52">
                  <c:v>109361</c:v>
                </c:pt>
                <c:pt idx="53">
                  <c:v>110684</c:v>
                </c:pt>
                <c:pt idx="54">
                  <c:v>111978</c:v>
                </c:pt>
                <c:pt idx="55">
                  <c:v>113354</c:v>
                </c:pt>
                <c:pt idx="56">
                  <c:v>114921</c:v>
                </c:pt>
                <c:pt idx="57">
                  <c:v>116776</c:v>
                </c:pt>
                <c:pt idx="58">
                  <c:v>117236</c:v>
                </c:pt>
                <c:pt idx="59">
                  <c:v>117399</c:v>
                </c:pt>
                <c:pt idx="60">
                  <c:v>118991</c:v>
                </c:pt>
                <c:pt idx="61">
                  <c:v>121282</c:v>
                </c:pt>
                <c:pt idx="62">
                  <c:v>123783</c:v>
                </c:pt>
                <c:pt idx="63">
                  <c:v>126813</c:v>
                </c:pt>
                <c:pt idx="64">
                  <c:v>129424</c:v>
                </c:pt>
                <c:pt idx="65">
                  <c:v>129733</c:v>
                </c:pt>
                <c:pt idx="66">
                  <c:v>129952</c:v>
                </c:pt>
                <c:pt idx="67">
                  <c:v>132502</c:v>
                </c:pt>
                <c:pt idx="68">
                  <c:v>135263</c:v>
                </c:pt>
                <c:pt idx="69">
                  <c:v>137928</c:v>
                </c:pt>
                <c:pt idx="70">
                  <c:v>140380</c:v>
                </c:pt>
                <c:pt idx="71">
                  <c:v>143344</c:v>
                </c:pt>
                <c:pt idx="72">
                  <c:v>144048</c:v>
                </c:pt>
                <c:pt idx="73">
                  <c:v>144559</c:v>
                </c:pt>
                <c:pt idx="74">
                  <c:v>146506</c:v>
                </c:pt>
                <c:pt idx="75">
                  <c:v>148650</c:v>
                </c:pt>
                <c:pt idx="76">
                  <c:v>150897</c:v>
                </c:pt>
                <c:pt idx="77">
                  <c:v>153897</c:v>
                </c:pt>
                <c:pt idx="78">
                  <c:v>156511</c:v>
                </c:pt>
                <c:pt idx="79">
                  <c:v>157169</c:v>
                </c:pt>
                <c:pt idx="80">
                  <c:v>157737</c:v>
                </c:pt>
                <c:pt idx="81">
                  <c:v>159322</c:v>
                </c:pt>
                <c:pt idx="82">
                  <c:v>161653</c:v>
                </c:pt>
                <c:pt idx="83">
                  <c:v>163970</c:v>
                </c:pt>
                <c:pt idx="84">
                  <c:v>165998</c:v>
                </c:pt>
                <c:pt idx="85">
                  <c:v>168256</c:v>
                </c:pt>
                <c:pt idx="86">
                  <c:v>169131</c:v>
                </c:pt>
                <c:pt idx="87">
                  <c:v>169580</c:v>
                </c:pt>
                <c:pt idx="88">
                  <c:v>170733</c:v>
                </c:pt>
                <c:pt idx="89">
                  <c:v>171972</c:v>
                </c:pt>
                <c:pt idx="90">
                  <c:v>173039</c:v>
                </c:pt>
                <c:pt idx="91">
                  <c:v>174336</c:v>
                </c:pt>
                <c:pt idx="92">
                  <c:v>175711</c:v>
                </c:pt>
                <c:pt idx="93">
                  <c:v>176086</c:v>
                </c:pt>
                <c:pt idx="94">
                  <c:v>176430</c:v>
                </c:pt>
                <c:pt idx="95">
                  <c:v>177213</c:v>
                </c:pt>
                <c:pt idx="96">
                  <c:v>178241</c:v>
                </c:pt>
                <c:pt idx="97">
                  <c:v>179367</c:v>
                </c:pt>
                <c:pt idx="98">
                  <c:v>180470</c:v>
                </c:pt>
                <c:pt idx="99">
                  <c:v>180739</c:v>
                </c:pt>
                <c:pt idx="100">
                  <c:v>180859</c:v>
                </c:pt>
                <c:pt idx="101">
                  <c:v>180975</c:v>
                </c:pt>
                <c:pt idx="102">
                  <c:v>181047</c:v>
                </c:pt>
                <c:pt idx="103">
                  <c:v>181613</c:v>
                </c:pt>
                <c:pt idx="104">
                  <c:v>182286</c:v>
                </c:pt>
                <c:pt idx="105">
                  <c:v>183530</c:v>
                </c:pt>
                <c:pt idx="106">
                  <c:v>184803</c:v>
                </c:pt>
                <c:pt idx="107">
                  <c:v>185179</c:v>
                </c:pt>
                <c:pt idx="108">
                  <c:v>185427</c:v>
                </c:pt>
                <c:pt idx="109">
                  <c:v>186362</c:v>
                </c:pt>
                <c:pt idx="110">
                  <c:v>187173</c:v>
                </c:pt>
                <c:pt idx="111">
                  <c:v>188116</c:v>
                </c:pt>
                <c:pt idx="112">
                  <c:v>189480</c:v>
                </c:pt>
                <c:pt idx="113">
                  <c:v>191026</c:v>
                </c:pt>
                <c:pt idx="114">
                  <c:v>191447</c:v>
                </c:pt>
                <c:pt idx="115">
                  <c:v>191887</c:v>
                </c:pt>
                <c:pt idx="116">
                  <c:v>192988</c:v>
                </c:pt>
                <c:pt idx="117">
                  <c:v>194036</c:v>
                </c:pt>
                <c:pt idx="118">
                  <c:v>195326</c:v>
                </c:pt>
                <c:pt idx="119">
                  <c:v>196796</c:v>
                </c:pt>
                <c:pt idx="120">
                  <c:v>198314</c:v>
                </c:pt>
                <c:pt idx="121">
                  <c:v>198752</c:v>
                </c:pt>
                <c:pt idx="122">
                  <c:v>199128</c:v>
                </c:pt>
                <c:pt idx="123">
                  <c:v>200332</c:v>
                </c:pt>
                <c:pt idx="124">
                  <c:v>201425</c:v>
                </c:pt>
                <c:pt idx="125">
                  <c:v>202814</c:v>
                </c:pt>
                <c:pt idx="126">
                  <c:v>204287</c:v>
                </c:pt>
                <c:pt idx="127">
                  <c:v>205688</c:v>
                </c:pt>
                <c:pt idx="128">
                  <c:v>206025</c:v>
                </c:pt>
                <c:pt idx="129">
                  <c:v>206364</c:v>
                </c:pt>
                <c:pt idx="130">
                  <c:v>207446</c:v>
                </c:pt>
                <c:pt idx="131">
                  <c:v>208548</c:v>
                </c:pt>
                <c:pt idx="132">
                  <c:v>209693</c:v>
                </c:pt>
                <c:pt idx="133">
                  <c:v>210889</c:v>
                </c:pt>
                <c:pt idx="134">
                  <c:v>212193</c:v>
                </c:pt>
                <c:pt idx="135">
                  <c:v>212695</c:v>
                </c:pt>
                <c:pt idx="136">
                  <c:v>213005</c:v>
                </c:pt>
                <c:pt idx="137">
                  <c:v>213979</c:v>
                </c:pt>
                <c:pt idx="138">
                  <c:v>215004</c:v>
                </c:pt>
                <c:pt idx="139">
                  <c:v>216045</c:v>
                </c:pt>
                <c:pt idx="140">
                  <c:v>217184</c:v>
                </c:pt>
                <c:pt idx="141">
                  <c:v>218186</c:v>
                </c:pt>
                <c:pt idx="142">
                  <c:v>218627</c:v>
                </c:pt>
                <c:pt idx="143">
                  <c:v>218912</c:v>
                </c:pt>
                <c:pt idx="144">
                  <c:v>219699</c:v>
                </c:pt>
                <c:pt idx="145">
                  <c:v>220578</c:v>
                </c:pt>
                <c:pt idx="146">
                  <c:v>221483</c:v>
                </c:pt>
                <c:pt idx="147">
                  <c:v>222415</c:v>
                </c:pt>
                <c:pt idx="148">
                  <c:v>223337</c:v>
                </c:pt>
                <c:pt idx="149">
                  <c:v>223689</c:v>
                </c:pt>
                <c:pt idx="150">
                  <c:v>223917</c:v>
                </c:pt>
                <c:pt idx="151">
                  <c:v>224471</c:v>
                </c:pt>
                <c:pt idx="152">
                  <c:v>225100</c:v>
                </c:pt>
                <c:pt idx="153">
                  <c:v>225954</c:v>
                </c:pt>
                <c:pt idx="154">
                  <c:v>226740</c:v>
                </c:pt>
                <c:pt idx="155">
                  <c:v>227565</c:v>
                </c:pt>
                <c:pt idx="156">
                  <c:v>227929</c:v>
                </c:pt>
                <c:pt idx="157">
                  <c:v>228217</c:v>
                </c:pt>
                <c:pt idx="158">
                  <c:v>228908</c:v>
                </c:pt>
                <c:pt idx="159">
                  <c:v>229634</c:v>
                </c:pt>
                <c:pt idx="160">
                  <c:v>230526</c:v>
                </c:pt>
                <c:pt idx="161">
                  <c:v>231365</c:v>
                </c:pt>
                <c:pt idx="162">
                  <c:v>232250</c:v>
                </c:pt>
                <c:pt idx="163">
                  <c:v>232671</c:v>
                </c:pt>
                <c:pt idx="164">
                  <c:v>233074</c:v>
                </c:pt>
                <c:pt idx="165">
                  <c:v>233966</c:v>
                </c:pt>
                <c:pt idx="166">
                  <c:v>234948</c:v>
                </c:pt>
                <c:pt idx="167">
                  <c:v>235864</c:v>
                </c:pt>
                <c:pt idx="168">
                  <c:v>236738</c:v>
                </c:pt>
                <c:pt idx="169">
                  <c:v>237594</c:v>
                </c:pt>
                <c:pt idx="170">
                  <c:v>238118</c:v>
                </c:pt>
                <c:pt idx="171">
                  <c:v>238490</c:v>
                </c:pt>
                <c:pt idx="172">
                  <c:v>239158</c:v>
                </c:pt>
                <c:pt idx="173">
                  <c:v>239912</c:v>
                </c:pt>
                <c:pt idx="174">
                  <c:v>240618</c:v>
                </c:pt>
                <c:pt idx="175">
                  <c:v>241327</c:v>
                </c:pt>
                <c:pt idx="176">
                  <c:v>241999</c:v>
                </c:pt>
                <c:pt idx="177">
                  <c:v>242332</c:v>
                </c:pt>
                <c:pt idx="178">
                  <c:v>242592</c:v>
                </c:pt>
                <c:pt idx="179">
                  <c:v>243101</c:v>
                </c:pt>
                <c:pt idx="180">
                  <c:v>243687</c:v>
                </c:pt>
                <c:pt idx="181">
                  <c:v>244184</c:v>
                </c:pt>
                <c:pt idx="182">
                  <c:v>244686</c:v>
                </c:pt>
                <c:pt idx="183">
                  <c:v>245184</c:v>
                </c:pt>
                <c:pt idx="184">
                  <c:v>245440</c:v>
                </c:pt>
                <c:pt idx="185">
                  <c:v>245628</c:v>
                </c:pt>
                <c:pt idx="186">
                  <c:v>246124</c:v>
                </c:pt>
                <c:pt idx="187">
                  <c:v>246585</c:v>
                </c:pt>
                <c:pt idx="188">
                  <c:v>247065</c:v>
                </c:pt>
                <c:pt idx="189">
                  <c:v>247427</c:v>
                </c:pt>
                <c:pt idx="190">
                  <c:v>247908</c:v>
                </c:pt>
                <c:pt idx="191">
                  <c:v>248006</c:v>
                </c:pt>
                <c:pt idx="192">
                  <c:v>248122</c:v>
                </c:pt>
                <c:pt idx="193">
                  <c:v>248234</c:v>
                </c:pt>
                <c:pt idx="194">
                  <c:v>248332</c:v>
                </c:pt>
                <c:pt idx="195">
                  <c:v>248745</c:v>
                </c:pt>
                <c:pt idx="196">
                  <c:v>249192</c:v>
                </c:pt>
                <c:pt idx="197">
                  <c:v>249635</c:v>
                </c:pt>
                <c:pt idx="198">
                  <c:v>249801</c:v>
                </c:pt>
                <c:pt idx="199">
                  <c:v>249922</c:v>
                </c:pt>
                <c:pt idx="200">
                  <c:v>250368</c:v>
                </c:pt>
                <c:pt idx="201">
                  <c:v>250814</c:v>
                </c:pt>
                <c:pt idx="202">
                  <c:v>251299</c:v>
                </c:pt>
                <c:pt idx="203">
                  <c:v>251793</c:v>
                </c:pt>
                <c:pt idx="204">
                  <c:v>252280</c:v>
                </c:pt>
                <c:pt idx="205">
                  <c:v>252461</c:v>
                </c:pt>
                <c:pt idx="206">
                  <c:v>252607</c:v>
                </c:pt>
                <c:pt idx="207">
                  <c:v>253028</c:v>
                </c:pt>
                <c:pt idx="208">
                  <c:v>253382</c:v>
                </c:pt>
                <c:pt idx="209">
                  <c:v>253851</c:v>
                </c:pt>
                <c:pt idx="210">
                  <c:v>254247</c:v>
                </c:pt>
                <c:pt idx="211">
                  <c:v>254639</c:v>
                </c:pt>
                <c:pt idx="212">
                  <c:v>254751</c:v>
                </c:pt>
                <c:pt idx="213">
                  <c:v>254840</c:v>
                </c:pt>
                <c:pt idx="214">
                  <c:v>255228</c:v>
                </c:pt>
                <c:pt idx="215">
                  <c:v>255652</c:v>
                </c:pt>
                <c:pt idx="216">
                  <c:v>256013</c:v>
                </c:pt>
                <c:pt idx="217">
                  <c:v>256349</c:v>
                </c:pt>
                <c:pt idx="218">
                  <c:v>256768</c:v>
                </c:pt>
                <c:pt idx="219">
                  <c:v>256890</c:v>
                </c:pt>
                <c:pt idx="220">
                  <c:v>256992</c:v>
                </c:pt>
                <c:pt idx="221">
                  <c:v>257274</c:v>
                </c:pt>
                <c:pt idx="222">
                  <c:v>257542</c:v>
                </c:pt>
                <c:pt idx="223">
                  <c:v>257855</c:v>
                </c:pt>
                <c:pt idx="224">
                  <c:v>258121</c:v>
                </c:pt>
                <c:pt idx="225">
                  <c:v>258403</c:v>
                </c:pt>
                <c:pt idx="226">
                  <c:v>258476</c:v>
                </c:pt>
                <c:pt idx="227">
                  <c:v>258540</c:v>
                </c:pt>
                <c:pt idx="228">
                  <c:v>258750</c:v>
                </c:pt>
                <c:pt idx="229">
                  <c:v>258959</c:v>
                </c:pt>
                <c:pt idx="230">
                  <c:v>259122</c:v>
                </c:pt>
                <c:pt idx="231">
                  <c:v>259355</c:v>
                </c:pt>
                <c:pt idx="232">
                  <c:v>259547</c:v>
                </c:pt>
                <c:pt idx="233">
                  <c:v>259604</c:v>
                </c:pt>
                <c:pt idx="234">
                  <c:v>259650</c:v>
                </c:pt>
                <c:pt idx="235">
                  <c:v>259834</c:v>
                </c:pt>
                <c:pt idx="236">
                  <c:v>260015</c:v>
                </c:pt>
                <c:pt idx="237">
                  <c:v>260178</c:v>
                </c:pt>
                <c:pt idx="238">
                  <c:v>260342</c:v>
                </c:pt>
                <c:pt idx="239">
                  <c:v>260587</c:v>
                </c:pt>
                <c:pt idx="240">
                  <c:v>260629</c:v>
                </c:pt>
                <c:pt idx="241">
                  <c:v>260662</c:v>
                </c:pt>
                <c:pt idx="242">
                  <c:v>260862</c:v>
                </c:pt>
                <c:pt idx="243">
                  <c:v>261055</c:v>
                </c:pt>
                <c:pt idx="244">
                  <c:v>261221</c:v>
                </c:pt>
                <c:pt idx="245">
                  <c:v>261383</c:v>
                </c:pt>
                <c:pt idx="246">
                  <c:v>261600</c:v>
                </c:pt>
                <c:pt idx="247">
                  <c:v>261644</c:v>
                </c:pt>
                <c:pt idx="248">
                  <c:v>261677</c:v>
                </c:pt>
                <c:pt idx="249">
                  <c:v>261847</c:v>
                </c:pt>
                <c:pt idx="250">
                  <c:v>262011</c:v>
                </c:pt>
                <c:pt idx="251">
                  <c:v>262133</c:v>
                </c:pt>
                <c:pt idx="252">
                  <c:v>262308</c:v>
                </c:pt>
                <c:pt idx="253">
                  <c:v>262504</c:v>
                </c:pt>
                <c:pt idx="254">
                  <c:v>262539</c:v>
                </c:pt>
                <c:pt idx="255">
                  <c:v>262572</c:v>
                </c:pt>
                <c:pt idx="256">
                  <c:v>262708</c:v>
                </c:pt>
                <c:pt idx="257">
                  <c:v>262798</c:v>
                </c:pt>
                <c:pt idx="258">
                  <c:v>262921</c:v>
                </c:pt>
                <c:pt idx="259">
                  <c:v>263063</c:v>
                </c:pt>
                <c:pt idx="260">
                  <c:v>263208</c:v>
                </c:pt>
                <c:pt idx="261">
                  <c:v>263242</c:v>
                </c:pt>
                <c:pt idx="262">
                  <c:v>263265</c:v>
                </c:pt>
                <c:pt idx="263">
                  <c:v>263376</c:v>
                </c:pt>
                <c:pt idx="264">
                  <c:v>263508</c:v>
                </c:pt>
                <c:pt idx="265">
                  <c:v>263615</c:v>
                </c:pt>
                <c:pt idx="266">
                  <c:v>263736</c:v>
                </c:pt>
                <c:pt idx="267">
                  <c:v>263901</c:v>
                </c:pt>
                <c:pt idx="268">
                  <c:v>263942</c:v>
                </c:pt>
                <c:pt idx="269">
                  <c:v>263954</c:v>
                </c:pt>
                <c:pt idx="270">
                  <c:v>264056</c:v>
                </c:pt>
                <c:pt idx="271">
                  <c:v>264160</c:v>
                </c:pt>
                <c:pt idx="272">
                  <c:v>264255</c:v>
                </c:pt>
                <c:pt idx="273">
                  <c:v>264388</c:v>
                </c:pt>
                <c:pt idx="274">
                  <c:v>264555</c:v>
                </c:pt>
                <c:pt idx="275">
                  <c:v>264587</c:v>
                </c:pt>
                <c:pt idx="276">
                  <c:v>264597</c:v>
                </c:pt>
                <c:pt idx="277">
                  <c:v>264694</c:v>
                </c:pt>
                <c:pt idx="278">
                  <c:v>264702</c:v>
                </c:pt>
                <c:pt idx="279">
                  <c:v>264787</c:v>
                </c:pt>
                <c:pt idx="280">
                  <c:v>264887</c:v>
                </c:pt>
                <c:pt idx="281">
                  <c:v>264979</c:v>
                </c:pt>
                <c:pt idx="282">
                  <c:v>265000</c:v>
                </c:pt>
                <c:pt idx="283">
                  <c:v>265014</c:v>
                </c:pt>
                <c:pt idx="284">
                  <c:v>265082</c:v>
                </c:pt>
                <c:pt idx="285">
                  <c:v>265164</c:v>
                </c:pt>
                <c:pt idx="286">
                  <c:v>265262</c:v>
                </c:pt>
                <c:pt idx="287">
                  <c:v>265332</c:v>
                </c:pt>
                <c:pt idx="288">
                  <c:v>265444</c:v>
                </c:pt>
                <c:pt idx="289">
                  <c:v>265469</c:v>
                </c:pt>
                <c:pt idx="290">
                  <c:v>265481</c:v>
                </c:pt>
                <c:pt idx="291">
                  <c:v>265557</c:v>
                </c:pt>
                <c:pt idx="292">
                  <c:v>265642</c:v>
                </c:pt>
                <c:pt idx="293">
                  <c:v>265721</c:v>
                </c:pt>
                <c:pt idx="294">
                  <c:v>265788</c:v>
                </c:pt>
                <c:pt idx="295">
                  <c:v>265906</c:v>
                </c:pt>
                <c:pt idx="296">
                  <c:v>265937</c:v>
                </c:pt>
                <c:pt idx="297">
                  <c:v>265967</c:v>
                </c:pt>
                <c:pt idx="298">
                  <c:v>266097</c:v>
                </c:pt>
                <c:pt idx="299">
                  <c:v>266190</c:v>
                </c:pt>
                <c:pt idx="300">
                  <c:v>266322</c:v>
                </c:pt>
                <c:pt idx="301">
                  <c:v>266561</c:v>
                </c:pt>
                <c:pt idx="302">
                  <c:v>266867</c:v>
                </c:pt>
                <c:pt idx="303">
                  <c:v>266950</c:v>
                </c:pt>
                <c:pt idx="304">
                  <c:v>267014</c:v>
                </c:pt>
                <c:pt idx="305">
                  <c:v>267276</c:v>
                </c:pt>
                <c:pt idx="306">
                  <c:v>267635</c:v>
                </c:pt>
                <c:pt idx="307">
                  <c:v>268049</c:v>
                </c:pt>
                <c:pt idx="308">
                  <c:v>268131</c:v>
                </c:pt>
                <c:pt idx="309">
                  <c:v>268507</c:v>
                </c:pt>
                <c:pt idx="310">
                  <c:v>268615</c:v>
                </c:pt>
                <c:pt idx="311">
                  <c:v>268683</c:v>
                </c:pt>
                <c:pt idx="312">
                  <c:v>269095</c:v>
                </c:pt>
                <c:pt idx="313">
                  <c:v>269501</c:v>
                </c:pt>
                <c:pt idx="314">
                  <c:v>269910</c:v>
                </c:pt>
                <c:pt idx="315">
                  <c:v>270406</c:v>
                </c:pt>
                <c:pt idx="316">
                  <c:v>270966</c:v>
                </c:pt>
                <c:pt idx="317">
                  <c:v>271120</c:v>
                </c:pt>
                <c:pt idx="318">
                  <c:v>271216</c:v>
                </c:pt>
                <c:pt idx="319">
                  <c:v>271613</c:v>
                </c:pt>
                <c:pt idx="320">
                  <c:v>271952</c:v>
                </c:pt>
                <c:pt idx="321">
                  <c:v>272337</c:v>
                </c:pt>
                <c:pt idx="322">
                  <c:v>272729</c:v>
                </c:pt>
                <c:pt idx="323">
                  <c:v>273258</c:v>
                </c:pt>
                <c:pt idx="324">
                  <c:v>273381</c:v>
                </c:pt>
                <c:pt idx="325">
                  <c:v>273466</c:v>
                </c:pt>
                <c:pt idx="326">
                  <c:v>273887</c:v>
                </c:pt>
                <c:pt idx="327">
                  <c:v>274357</c:v>
                </c:pt>
                <c:pt idx="328">
                  <c:v>274461</c:v>
                </c:pt>
                <c:pt idx="329">
                  <c:v>274967</c:v>
                </c:pt>
                <c:pt idx="330">
                  <c:v>275578</c:v>
                </c:pt>
                <c:pt idx="331">
                  <c:v>275774</c:v>
                </c:pt>
                <c:pt idx="332">
                  <c:v>275916</c:v>
                </c:pt>
                <c:pt idx="333">
                  <c:v>276327</c:v>
                </c:pt>
                <c:pt idx="334">
                  <c:v>276748</c:v>
                </c:pt>
                <c:pt idx="335">
                  <c:v>277202</c:v>
                </c:pt>
                <c:pt idx="336">
                  <c:v>277679</c:v>
                </c:pt>
                <c:pt idx="337">
                  <c:v>278198</c:v>
                </c:pt>
                <c:pt idx="338">
                  <c:v>278347</c:v>
                </c:pt>
                <c:pt idx="339">
                  <c:v>278398</c:v>
                </c:pt>
                <c:pt idx="340">
                  <c:v>278741</c:v>
                </c:pt>
                <c:pt idx="341">
                  <c:v>279062</c:v>
                </c:pt>
                <c:pt idx="342">
                  <c:v>279403</c:v>
                </c:pt>
                <c:pt idx="343">
                  <c:v>2796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9B2-46E3-85FE-A83BCF6CC08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ry</c:v>
                </c:pt>
              </c:strCache>
            </c:strRef>
          </c:tx>
          <c:spPr>
            <a:ln w="28575" cap="rnd">
              <a:solidFill>
                <a:srgbClr val="ED7D31"/>
              </a:solidFill>
              <a:round/>
            </a:ln>
            <a:effectLst/>
          </c:spPr>
          <c:marker>
            <c:symbol val="none"/>
          </c:marker>
          <c:cat>
            <c:strRef>
              <c:f>List1!$F$1:$MK$1</c:f>
              <c:strCache>
                <c:ptCount val="344"/>
                <c:pt idx="0">
                  <c:v>24-XII.</c:v>
                </c:pt>
                <c:pt idx="1">
                  <c:v>25-XII.</c:v>
                </c:pt>
                <c:pt idx="2">
                  <c:v>26-XII.</c:v>
                </c:pt>
                <c:pt idx="3">
                  <c:v>27-XII.</c:v>
                </c:pt>
                <c:pt idx="4">
                  <c:v>28-XII.</c:v>
                </c:pt>
                <c:pt idx="5">
                  <c:v>29-XII.</c:v>
                </c:pt>
                <c:pt idx="6">
                  <c:v>30-XII.</c:v>
                </c:pt>
                <c:pt idx="7">
                  <c:v>31-XII.</c:v>
                </c:pt>
                <c:pt idx="8">
                  <c:v>1-I.</c:v>
                </c:pt>
                <c:pt idx="9">
                  <c:v>2-I.</c:v>
                </c:pt>
                <c:pt idx="10">
                  <c:v>3-I.</c:v>
                </c:pt>
                <c:pt idx="11">
                  <c:v>4-I.</c:v>
                </c:pt>
                <c:pt idx="12">
                  <c:v>5-I.</c:v>
                </c:pt>
                <c:pt idx="13">
                  <c:v>6-I.</c:v>
                </c:pt>
                <c:pt idx="14">
                  <c:v>7-I.</c:v>
                </c:pt>
                <c:pt idx="15">
                  <c:v>8-I.</c:v>
                </c:pt>
                <c:pt idx="16">
                  <c:v>9-I.</c:v>
                </c:pt>
                <c:pt idx="17">
                  <c:v>10-I.</c:v>
                </c:pt>
                <c:pt idx="18">
                  <c:v>11-I.</c:v>
                </c:pt>
                <c:pt idx="19">
                  <c:v>12-I.</c:v>
                </c:pt>
                <c:pt idx="20">
                  <c:v>13-I.</c:v>
                </c:pt>
                <c:pt idx="21">
                  <c:v>14-I.</c:v>
                </c:pt>
                <c:pt idx="22">
                  <c:v>15-I.</c:v>
                </c:pt>
                <c:pt idx="23">
                  <c:v>16-I.</c:v>
                </c:pt>
                <c:pt idx="24">
                  <c:v>17-I.</c:v>
                </c:pt>
                <c:pt idx="25">
                  <c:v>18-I.</c:v>
                </c:pt>
                <c:pt idx="26">
                  <c:v>19-I.</c:v>
                </c:pt>
                <c:pt idx="27">
                  <c:v>20-I.</c:v>
                </c:pt>
                <c:pt idx="28">
                  <c:v>21-I.</c:v>
                </c:pt>
                <c:pt idx="29">
                  <c:v>22-I.</c:v>
                </c:pt>
                <c:pt idx="30">
                  <c:v>23-I.</c:v>
                </c:pt>
                <c:pt idx="31">
                  <c:v>24-I.</c:v>
                </c:pt>
                <c:pt idx="32">
                  <c:v>25-I.</c:v>
                </c:pt>
                <c:pt idx="33">
                  <c:v>26-I.</c:v>
                </c:pt>
                <c:pt idx="34">
                  <c:v>27-I.</c:v>
                </c:pt>
                <c:pt idx="35">
                  <c:v>28-I.</c:v>
                </c:pt>
                <c:pt idx="36">
                  <c:v>29-I.</c:v>
                </c:pt>
                <c:pt idx="37">
                  <c:v>30-I.</c:v>
                </c:pt>
                <c:pt idx="38">
                  <c:v>31-I.</c:v>
                </c:pt>
                <c:pt idx="39">
                  <c:v>1-II.</c:v>
                </c:pt>
                <c:pt idx="40">
                  <c:v>2-II.</c:v>
                </c:pt>
                <c:pt idx="41">
                  <c:v>3-II.</c:v>
                </c:pt>
                <c:pt idx="42">
                  <c:v>4-II.</c:v>
                </c:pt>
                <c:pt idx="43">
                  <c:v>5-II.</c:v>
                </c:pt>
                <c:pt idx="44">
                  <c:v>6-II.</c:v>
                </c:pt>
                <c:pt idx="45">
                  <c:v>7-II.</c:v>
                </c:pt>
                <c:pt idx="46">
                  <c:v>8-II.</c:v>
                </c:pt>
                <c:pt idx="47">
                  <c:v>9-II.</c:v>
                </c:pt>
                <c:pt idx="48">
                  <c:v>10-II.</c:v>
                </c:pt>
                <c:pt idx="49">
                  <c:v>11-II.</c:v>
                </c:pt>
                <c:pt idx="50">
                  <c:v>12-II.</c:v>
                </c:pt>
                <c:pt idx="51">
                  <c:v>13-II.</c:v>
                </c:pt>
                <c:pt idx="52">
                  <c:v>14-II.</c:v>
                </c:pt>
                <c:pt idx="53">
                  <c:v>15-II.</c:v>
                </c:pt>
                <c:pt idx="54">
                  <c:v>16-II.</c:v>
                </c:pt>
                <c:pt idx="55">
                  <c:v>17-II.</c:v>
                </c:pt>
                <c:pt idx="56">
                  <c:v>18-II.</c:v>
                </c:pt>
                <c:pt idx="57">
                  <c:v>19-II.</c:v>
                </c:pt>
                <c:pt idx="58">
                  <c:v>20-II.</c:v>
                </c:pt>
                <c:pt idx="59">
                  <c:v>21-II.</c:v>
                </c:pt>
                <c:pt idx="60">
                  <c:v>22-II.</c:v>
                </c:pt>
                <c:pt idx="61">
                  <c:v>23-II.</c:v>
                </c:pt>
                <c:pt idx="62">
                  <c:v>24-II.</c:v>
                </c:pt>
                <c:pt idx="63">
                  <c:v>25-II.</c:v>
                </c:pt>
                <c:pt idx="64">
                  <c:v>26-II.</c:v>
                </c:pt>
                <c:pt idx="65">
                  <c:v>27-II.</c:v>
                </c:pt>
                <c:pt idx="66">
                  <c:v>28-II.</c:v>
                </c:pt>
                <c:pt idx="67">
                  <c:v>1-III.</c:v>
                </c:pt>
                <c:pt idx="68">
                  <c:v>2-III.</c:v>
                </c:pt>
                <c:pt idx="69">
                  <c:v>3-III.</c:v>
                </c:pt>
                <c:pt idx="70">
                  <c:v>4-III.</c:v>
                </c:pt>
                <c:pt idx="71">
                  <c:v>5-III.</c:v>
                </c:pt>
                <c:pt idx="72">
                  <c:v>6-III.</c:v>
                </c:pt>
                <c:pt idx="73">
                  <c:v>7-III.</c:v>
                </c:pt>
                <c:pt idx="74">
                  <c:v>8-III.</c:v>
                </c:pt>
                <c:pt idx="75">
                  <c:v>9-III.</c:v>
                </c:pt>
                <c:pt idx="76">
                  <c:v>10-III.</c:v>
                </c:pt>
                <c:pt idx="77">
                  <c:v>11-III.</c:v>
                </c:pt>
                <c:pt idx="78">
                  <c:v>12-III.</c:v>
                </c:pt>
                <c:pt idx="79">
                  <c:v>13-III.</c:v>
                </c:pt>
                <c:pt idx="80">
                  <c:v>14-III.</c:v>
                </c:pt>
                <c:pt idx="81">
                  <c:v>15-III.</c:v>
                </c:pt>
                <c:pt idx="82">
                  <c:v>16-III.</c:v>
                </c:pt>
                <c:pt idx="83">
                  <c:v>17-III.</c:v>
                </c:pt>
                <c:pt idx="84">
                  <c:v>18-III.</c:v>
                </c:pt>
                <c:pt idx="85">
                  <c:v>19-III.</c:v>
                </c:pt>
                <c:pt idx="86">
                  <c:v>20-III.</c:v>
                </c:pt>
                <c:pt idx="87">
                  <c:v>21-III.</c:v>
                </c:pt>
                <c:pt idx="88">
                  <c:v>22-III.</c:v>
                </c:pt>
                <c:pt idx="89">
                  <c:v>23-III.</c:v>
                </c:pt>
                <c:pt idx="90">
                  <c:v>24-III.</c:v>
                </c:pt>
                <c:pt idx="91">
                  <c:v>25-III.</c:v>
                </c:pt>
                <c:pt idx="92">
                  <c:v>26-III.</c:v>
                </c:pt>
                <c:pt idx="93">
                  <c:v>27-III.</c:v>
                </c:pt>
                <c:pt idx="94">
                  <c:v>28-III.</c:v>
                </c:pt>
                <c:pt idx="95">
                  <c:v>29-III.</c:v>
                </c:pt>
                <c:pt idx="96">
                  <c:v>30-III.</c:v>
                </c:pt>
                <c:pt idx="97">
                  <c:v>31-III.</c:v>
                </c:pt>
                <c:pt idx="98">
                  <c:v>1-IV.</c:v>
                </c:pt>
                <c:pt idx="99">
                  <c:v>2-IV.</c:v>
                </c:pt>
                <c:pt idx="100">
                  <c:v>3-IV.</c:v>
                </c:pt>
                <c:pt idx="101">
                  <c:v>4-IV.</c:v>
                </c:pt>
                <c:pt idx="102">
                  <c:v>5-IV.</c:v>
                </c:pt>
                <c:pt idx="103">
                  <c:v>6-IV.</c:v>
                </c:pt>
                <c:pt idx="104">
                  <c:v>7-IV.</c:v>
                </c:pt>
                <c:pt idx="105">
                  <c:v>8-IV.</c:v>
                </c:pt>
                <c:pt idx="106">
                  <c:v>9-IV.</c:v>
                </c:pt>
                <c:pt idx="107">
                  <c:v>10-IV.</c:v>
                </c:pt>
                <c:pt idx="108">
                  <c:v>11-IV.</c:v>
                </c:pt>
                <c:pt idx="109">
                  <c:v>12-IV.</c:v>
                </c:pt>
                <c:pt idx="110">
                  <c:v>13-IV.</c:v>
                </c:pt>
                <c:pt idx="111">
                  <c:v>14-IV.</c:v>
                </c:pt>
                <c:pt idx="112">
                  <c:v>15-IV.</c:v>
                </c:pt>
                <c:pt idx="113">
                  <c:v>16-IV.</c:v>
                </c:pt>
                <c:pt idx="114">
                  <c:v>17-IV.</c:v>
                </c:pt>
                <c:pt idx="115">
                  <c:v>18-IV.</c:v>
                </c:pt>
                <c:pt idx="116">
                  <c:v>19-IV.</c:v>
                </c:pt>
                <c:pt idx="117">
                  <c:v>20-IV.</c:v>
                </c:pt>
                <c:pt idx="118">
                  <c:v>21-IV.</c:v>
                </c:pt>
                <c:pt idx="119">
                  <c:v>22-IV.</c:v>
                </c:pt>
                <c:pt idx="120">
                  <c:v>23-IV.</c:v>
                </c:pt>
                <c:pt idx="121">
                  <c:v>24-IV.</c:v>
                </c:pt>
                <c:pt idx="122">
                  <c:v>25-IV.</c:v>
                </c:pt>
                <c:pt idx="123">
                  <c:v>26-IV.</c:v>
                </c:pt>
                <c:pt idx="124">
                  <c:v>27-IV.</c:v>
                </c:pt>
                <c:pt idx="125">
                  <c:v>28-IV.</c:v>
                </c:pt>
                <c:pt idx="126">
                  <c:v>29-IV.</c:v>
                </c:pt>
                <c:pt idx="127">
                  <c:v>30-IV.</c:v>
                </c:pt>
                <c:pt idx="128">
                  <c:v>1-V.</c:v>
                </c:pt>
                <c:pt idx="129">
                  <c:v>2-V.</c:v>
                </c:pt>
                <c:pt idx="130">
                  <c:v>3-V.</c:v>
                </c:pt>
                <c:pt idx="131">
                  <c:v>4-V.</c:v>
                </c:pt>
                <c:pt idx="132">
                  <c:v>5-V.</c:v>
                </c:pt>
                <c:pt idx="133">
                  <c:v>6-V.</c:v>
                </c:pt>
                <c:pt idx="134">
                  <c:v>7-V.</c:v>
                </c:pt>
                <c:pt idx="135">
                  <c:v>8-V.</c:v>
                </c:pt>
                <c:pt idx="136">
                  <c:v>9-V.</c:v>
                </c:pt>
                <c:pt idx="137">
                  <c:v>10-V.</c:v>
                </c:pt>
                <c:pt idx="138">
                  <c:v>11-V.</c:v>
                </c:pt>
                <c:pt idx="139">
                  <c:v>12-V.</c:v>
                </c:pt>
                <c:pt idx="140">
                  <c:v>13-V.</c:v>
                </c:pt>
                <c:pt idx="141">
                  <c:v>14-V.</c:v>
                </c:pt>
                <c:pt idx="142">
                  <c:v>15-V.</c:v>
                </c:pt>
                <c:pt idx="143">
                  <c:v>16-V.</c:v>
                </c:pt>
                <c:pt idx="144">
                  <c:v>17-V.</c:v>
                </c:pt>
                <c:pt idx="145">
                  <c:v>18-V.</c:v>
                </c:pt>
                <c:pt idx="146">
                  <c:v>19-V.</c:v>
                </c:pt>
                <c:pt idx="147">
                  <c:v>20-V.</c:v>
                </c:pt>
                <c:pt idx="148">
                  <c:v>21-V.</c:v>
                </c:pt>
                <c:pt idx="149">
                  <c:v>22-V.</c:v>
                </c:pt>
                <c:pt idx="150">
                  <c:v>23-V.</c:v>
                </c:pt>
                <c:pt idx="151">
                  <c:v>24-V.</c:v>
                </c:pt>
                <c:pt idx="152">
                  <c:v>25-V.</c:v>
                </c:pt>
                <c:pt idx="153">
                  <c:v>26-V.</c:v>
                </c:pt>
                <c:pt idx="154">
                  <c:v>27-V.</c:v>
                </c:pt>
                <c:pt idx="155">
                  <c:v>28-V.</c:v>
                </c:pt>
                <c:pt idx="156">
                  <c:v>29-V.</c:v>
                </c:pt>
                <c:pt idx="157">
                  <c:v>30-V.</c:v>
                </c:pt>
                <c:pt idx="158">
                  <c:v>31-V.</c:v>
                </c:pt>
                <c:pt idx="159">
                  <c:v>1-VI.</c:v>
                </c:pt>
                <c:pt idx="160">
                  <c:v>2-VI.</c:v>
                </c:pt>
                <c:pt idx="161">
                  <c:v>3-VI.</c:v>
                </c:pt>
                <c:pt idx="162">
                  <c:v>4-VI.</c:v>
                </c:pt>
                <c:pt idx="163">
                  <c:v>5-VI.</c:v>
                </c:pt>
                <c:pt idx="164">
                  <c:v>6-VI.</c:v>
                </c:pt>
                <c:pt idx="165">
                  <c:v>7-VI.</c:v>
                </c:pt>
                <c:pt idx="166">
                  <c:v>8-VI.</c:v>
                </c:pt>
                <c:pt idx="167">
                  <c:v>9-VI.</c:v>
                </c:pt>
                <c:pt idx="168">
                  <c:v>10-VI.</c:v>
                </c:pt>
                <c:pt idx="169">
                  <c:v>11-VI.</c:v>
                </c:pt>
                <c:pt idx="170">
                  <c:v>12-VI.</c:v>
                </c:pt>
                <c:pt idx="171">
                  <c:v>13-VI.</c:v>
                </c:pt>
                <c:pt idx="172">
                  <c:v>14-VI.</c:v>
                </c:pt>
                <c:pt idx="173">
                  <c:v>15-VI.</c:v>
                </c:pt>
                <c:pt idx="174">
                  <c:v>16-VI.</c:v>
                </c:pt>
                <c:pt idx="175">
                  <c:v>17-VI.</c:v>
                </c:pt>
                <c:pt idx="176">
                  <c:v>18-VI.</c:v>
                </c:pt>
                <c:pt idx="177">
                  <c:v>19-VI.</c:v>
                </c:pt>
                <c:pt idx="178">
                  <c:v>20-VI.</c:v>
                </c:pt>
                <c:pt idx="179">
                  <c:v>21-VI.</c:v>
                </c:pt>
                <c:pt idx="180">
                  <c:v>22-VI.</c:v>
                </c:pt>
                <c:pt idx="181">
                  <c:v>23-VI.</c:v>
                </c:pt>
                <c:pt idx="182">
                  <c:v>24-VI.</c:v>
                </c:pt>
                <c:pt idx="183">
                  <c:v>25-VI.</c:v>
                </c:pt>
                <c:pt idx="184">
                  <c:v>26-VI.</c:v>
                </c:pt>
                <c:pt idx="185">
                  <c:v>27-VI.</c:v>
                </c:pt>
                <c:pt idx="186">
                  <c:v>28-VI.</c:v>
                </c:pt>
                <c:pt idx="187">
                  <c:v>29-VI.</c:v>
                </c:pt>
                <c:pt idx="188">
                  <c:v>30-VI.</c:v>
                </c:pt>
                <c:pt idx="189">
                  <c:v>1-VII.</c:v>
                </c:pt>
                <c:pt idx="190">
                  <c:v>2-VII.</c:v>
                </c:pt>
                <c:pt idx="191">
                  <c:v>3-VII.</c:v>
                </c:pt>
                <c:pt idx="192">
                  <c:v>4-VII.</c:v>
                </c:pt>
                <c:pt idx="193">
                  <c:v>5-VII.</c:v>
                </c:pt>
                <c:pt idx="194">
                  <c:v>6-VII.</c:v>
                </c:pt>
                <c:pt idx="195">
                  <c:v>7-VII.</c:v>
                </c:pt>
                <c:pt idx="196">
                  <c:v>8-VII.</c:v>
                </c:pt>
                <c:pt idx="197">
                  <c:v>9-VII.</c:v>
                </c:pt>
                <c:pt idx="198">
                  <c:v>10-VII.</c:v>
                </c:pt>
                <c:pt idx="199">
                  <c:v>11-VII.</c:v>
                </c:pt>
                <c:pt idx="200">
                  <c:v>12-VII.</c:v>
                </c:pt>
                <c:pt idx="201">
                  <c:v>13-VII.</c:v>
                </c:pt>
                <c:pt idx="202">
                  <c:v>14-VII.</c:v>
                </c:pt>
                <c:pt idx="203">
                  <c:v>15-VII.</c:v>
                </c:pt>
                <c:pt idx="204">
                  <c:v>16-VII.</c:v>
                </c:pt>
                <c:pt idx="205">
                  <c:v>17-VII.</c:v>
                </c:pt>
                <c:pt idx="206">
                  <c:v>18-VII.</c:v>
                </c:pt>
                <c:pt idx="207">
                  <c:v>19-VII.</c:v>
                </c:pt>
                <c:pt idx="208">
                  <c:v>20-VII.</c:v>
                </c:pt>
                <c:pt idx="209">
                  <c:v>21-VII.</c:v>
                </c:pt>
                <c:pt idx="210">
                  <c:v>22-VII.</c:v>
                </c:pt>
                <c:pt idx="211">
                  <c:v>23-VII.</c:v>
                </c:pt>
                <c:pt idx="212">
                  <c:v>24-VII.</c:v>
                </c:pt>
                <c:pt idx="213">
                  <c:v>25-VII.</c:v>
                </c:pt>
                <c:pt idx="214">
                  <c:v>26-VII.</c:v>
                </c:pt>
                <c:pt idx="215">
                  <c:v>27-VII.</c:v>
                </c:pt>
                <c:pt idx="216">
                  <c:v>28-VII.</c:v>
                </c:pt>
                <c:pt idx="217">
                  <c:v>29-VII.</c:v>
                </c:pt>
                <c:pt idx="218">
                  <c:v>30-VII.</c:v>
                </c:pt>
                <c:pt idx="219">
                  <c:v>31-VII.</c:v>
                </c:pt>
                <c:pt idx="220">
                  <c:v>1-VIII.</c:v>
                </c:pt>
                <c:pt idx="221">
                  <c:v>2-VIII.</c:v>
                </c:pt>
                <c:pt idx="222">
                  <c:v>3-VIII.</c:v>
                </c:pt>
                <c:pt idx="223">
                  <c:v>4-VIII.</c:v>
                </c:pt>
                <c:pt idx="224">
                  <c:v>5-VIII.</c:v>
                </c:pt>
                <c:pt idx="225">
                  <c:v>6-VIII.</c:v>
                </c:pt>
                <c:pt idx="226">
                  <c:v>7-VIII.</c:v>
                </c:pt>
                <c:pt idx="227">
                  <c:v>8-VIII.</c:v>
                </c:pt>
                <c:pt idx="228">
                  <c:v>9-VIII.</c:v>
                </c:pt>
                <c:pt idx="229">
                  <c:v>10-VIII.</c:v>
                </c:pt>
                <c:pt idx="230">
                  <c:v>11-VIII.</c:v>
                </c:pt>
                <c:pt idx="231">
                  <c:v>12-VIII.</c:v>
                </c:pt>
                <c:pt idx="232">
                  <c:v>13-VIII.</c:v>
                </c:pt>
                <c:pt idx="233">
                  <c:v>14-VIII.</c:v>
                </c:pt>
                <c:pt idx="234">
                  <c:v>15-VIII.</c:v>
                </c:pt>
                <c:pt idx="235">
                  <c:v>16-VIII.</c:v>
                </c:pt>
                <c:pt idx="236">
                  <c:v>17-VIII.</c:v>
                </c:pt>
                <c:pt idx="237">
                  <c:v>18-VIII.</c:v>
                </c:pt>
                <c:pt idx="238">
                  <c:v>19-VIII.</c:v>
                </c:pt>
                <c:pt idx="239">
                  <c:v>20-VIII.</c:v>
                </c:pt>
                <c:pt idx="240">
                  <c:v>21-VIII.</c:v>
                </c:pt>
                <c:pt idx="241">
                  <c:v>22-VIII.</c:v>
                </c:pt>
                <c:pt idx="242">
                  <c:v>23-VIII.</c:v>
                </c:pt>
                <c:pt idx="243">
                  <c:v>24-VIII.</c:v>
                </c:pt>
                <c:pt idx="244">
                  <c:v>25-VIII.</c:v>
                </c:pt>
                <c:pt idx="245">
                  <c:v>26-VIII.</c:v>
                </c:pt>
                <c:pt idx="246">
                  <c:v>27-VIII.</c:v>
                </c:pt>
                <c:pt idx="247">
                  <c:v>28-VIII.</c:v>
                </c:pt>
                <c:pt idx="248">
                  <c:v>29-VIII.</c:v>
                </c:pt>
                <c:pt idx="249">
                  <c:v>30-VIII.</c:v>
                </c:pt>
                <c:pt idx="250">
                  <c:v>31-VIII.</c:v>
                </c:pt>
                <c:pt idx="251">
                  <c:v>1-IX.</c:v>
                </c:pt>
                <c:pt idx="252">
                  <c:v>2-IX.</c:v>
                </c:pt>
                <c:pt idx="253">
                  <c:v>3-IX.</c:v>
                </c:pt>
                <c:pt idx="254">
                  <c:v>4-IX.</c:v>
                </c:pt>
                <c:pt idx="255">
                  <c:v>5-IX.</c:v>
                </c:pt>
                <c:pt idx="256">
                  <c:v>6-IX.</c:v>
                </c:pt>
                <c:pt idx="257">
                  <c:v>7-IX.</c:v>
                </c:pt>
                <c:pt idx="258">
                  <c:v>8-IX.</c:v>
                </c:pt>
                <c:pt idx="259">
                  <c:v>9-IX.</c:v>
                </c:pt>
                <c:pt idx="260">
                  <c:v>10-IX.</c:v>
                </c:pt>
                <c:pt idx="261">
                  <c:v>11-IX.</c:v>
                </c:pt>
                <c:pt idx="262">
                  <c:v>12-IX.</c:v>
                </c:pt>
                <c:pt idx="263">
                  <c:v>13-IX.</c:v>
                </c:pt>
                <c:pt idx="264">
                  <c:v>14-IX.</c:v>
                </c:pt>
                <c:pt idx="265">
                  <c:v>15-IX.</c:v>
                </c:pt>
                <c:pt idx="266">
                  <c:v>16-IX.</c:v>
                </c:pt>
                <c:pt idx="267">
                  <c:v>17-IX.</c:v>
                </c:pt>
                <c:pt idx="268">
                  <c:v>18-IX.</c:v>
                </c:pt>
                <c:pt idx="269">
                  <c:v>19-IX.</c:v>
                </c:pt>
                <c:pt idx="270">
                  <c:v>20-IX.</c:v>
                </c:pt>
                <c:pt idx="271">
                  <c:v>21-IX.</c:v>
                </c:pt>
                <c:pt idx="272">
                  <c:v>22-IX.</c:v>
                </c:pt>
                <c:pt idx="273">
                  <c:v>23-IX.</c:v>
                </c:pt>
                <c:pt idx="274">
                  <c:v>24-IX.</c:v>
                </c:pt>
                <c:pt idx="275">
                  <c:v>25-IX.</c:v>
                </c:pt>
                <c:pt idx="276">
                  <c:v>26-IX.</c:v>
                </c:pt>
                <c:pt idx="277">
                  <c:v>27-IX.</c:v>
                </c:pt>
                <c:pt idx="278">
                  <c:v>28-IX.</c:v>
                </c:pt>
                <c:pt idx="279">
                  <c:v>29-IX.</c:v>
                </c:pt>
                <c:pt idx="280">
                  <c:v>30-IX.</c:v>
                </c:pt>
                <c:pt idx="281">
                  <c:v>1-X.</c:v>
                </c:pt>
                <c:pt idx="282">
                  <c:v>2-X.</c:v>
                </c:pt>
                <c:pt idx="283">
                  <c:v>3-X.</c:v>
                </c:pt>
                <c:pt idx="284">
                  <c:v>4-X.</c:v>
                </c:pt>
                <c:pt idx="285">
                  <c:v>5-X.</c:v>
                </c:pt>
                <c:pt idx="286">
                  <c:v>6-X.</c:v>
                </c:pt>
                <c:pt idx="287">
                  <c:v>7-X.</c:v>
                </c:pt>
                <c:pt idx="288">
                  <c:v>8-X.</c:v>
                </c:pt>
                <c:pt idx="289">
                  <c:v>9-X.</c:v>
                </c:pt>
                <c:pt idx="290">
                  <c:v>10-X.</c:v>
                </c:pt>
                <c:pt idx="291">
                  <c:v>11-X.</c:v>
                </c:pt>
                <c:pt idx="292">
                  <c:v>12-X.</c:v>
                </c:pt>
                <c:pt idx="293">
                  <c:v>13-X.</c:v>
                </c:pt>
                <c:pt idx="294">
                  <c:v>14-X.</c:v>
                </c:pt>
                <c:pt idx="295">
                  <c:v>15-X.</c:v>
                </c:pt>
                <c:pt idx="296">
                  <c:v>16-X.</c:v>
                </c:pt>
                <c:pt idx="297">
                  <c:v>17-X.</c:v>
                </c:pt>
                <c:pt idx="298">
                  <c:v>18-X.</c:v>
                </c:pt>
                <c:pt idx="299">
                  <c:v>19-X.</c:v>
                </c:pt>
                <c:pt idx="300">
                  <c:v>20-X.</c:v>
                </c:pt>
                <c:pt idx="301">
                  <c:v>21-X.</c:v>
                </c:pt>
                <c:pt idx="302">
                  <c:v>22-X.</c:v>
                </c:pt>
                <c:pt idx="303">
                  <c:v>23-X.</c:v>
                </c:pt>
                <c:pt idx="304">
                  <c:v>24-X.</c:v>
                </c:pt>
                <c:pt idx="305">
                  <c:v>25-X.</c:v>
                </c:pt>
                <c:pt idx="306">
                  <c:v>26-X.</c:v>
                </c:pt>
                <c:pt idx="307">
                  <c:v>27-X.</c:v>
                </c:pt>
                <c:pt idx="308">
                  <c:v>28-X.</c:v>
                </c:pt>
                <c:pt idx="309">
                  <c:v>29-X.</c:v>
                </c:pt>
                <c:pt idx="310">
                  <c:v>30-X.</c:v>
                </c:pt>
                <c:pt idx="311">
                  <c:v>31-X.</c:v>
                </c:pt>
                <c:pt idx="312">
                  <c:v>1-XI.</c:v>
                </c:pt>
                <c:pt idx="313">
                  <c:v>2-XI.</c:v>
                </c:pt>
                <c:pt idx="314">
                  <c:v>3-XI.</c:v>
                </c:pt>
                <c:pt idx="315">
                  <c:v>4-XI.</c:v>
                </c:pt>
                <c:pt idx="316">
                  <c:v>5-XI.</c:v>
                </c:pt>
                <c:pt idx="317">
                  <c:v>6-XI.</c:v>
                </c:pt>
                <c:pt idx="318">
                  <c:v>7-XI.</c:v>
                </c:pt>
                <c:pt idx="319">
                  <c:v>8-XI.</c:v>
                </c:pt>
                <c:pt idx="320">
                  <c:v>9-XI.</c:v>
                </c:pt>
                <c:pt idx="321">
                  <c:v>10-XI.</c:v>
                </c:pt>
                <c:pt idx="322">
                  <c:v>11-XI.</c:v>
                </c:pt>
                <c:pt idx="323">
                  <c:v>12-XI.</c:v>
                </c:pt>
                <c:pt idx="324">
                  <c:v>13-XI.</c:v>
                </c:pt>
                <c:pt idx="325">
                  <c:v>14-XI.</c:v>
                </c:pt>
                <c:pt idx="326">
                  <c:v>15-XI.</c:v>
                </c:pt>
                <c:pt idx="327">
                  <c:v>16-XI.</c:v>
                </c:pt>
                <c:pt idx="328">
                  <c:v>17-XI.</c:v>
                </c:pt>
                <c:pt idx="329">
                  <c:v>18-XI.</c:v>
                </c:pt>
                <c:pt idx="330">
                  <c:v>19-XI.</c:v>
                </c:pt>
                <c:pt idx="331">
                  <c:v>20-XI.</c:v>
                </c:pt>
                <c:pt idx="332">
                  <c:v>21-XI.</c:v>
                </c:pt>
                <c:pt idx="333">
                  <c:v>22-XI.</c:v>
                </c:pt>
                <c:pt idx="334">
                  <c:v>23-XI.</c:v>
                </c:pt>
                <c:pt idx="335">
                  <c:v>24-XI.</c:v>
                </c:pt>
                <c:pt idx="336">
                  <c:v>25-XI.</c:v>
                </c:pt>
                <c:pt idx="337">
                  <c:v>26-XI.</c:v>
                </c:pt>
                <c:pt idx="338">
                  <c:v>27-XI.</c:v>
                </c:pt>
                <c:pt idx="339">
                  <c:v>28-XI.</c:v>
                </c:pt>
                <c:pt idx="340">
                  <c:v>29-XI.</c:v>
                </c:pt>
                <c:pt idx="341">
                  <c:v>30-XI.</c:v>
                </c:pt>
                <c:pt idx="342">
                  <c:v>1-XII.</c:v>
                </c:pt>
                <c:pt idx="343">
                  <c:v>2-XII.</c:v>
                </c:pt>
              </c:strCache>
            </c:strRef>
          </c:cat>
          <c:val>
            <c:numRef>
              <c:f>List1!$F$3:$MK$3</c:f>
              <c:numCache>
                <c:formatCode>General</c:formatCode>
                <c:ptCount val="344"/>
                <c:pt idx="3">
                  <c:v>409</c:v>
                </c:pt>
                <c:pt idx="4">
                  <c:v>1123</c:v>
                </c:pt>
                <c:pt idx="5">
                  <c:v>2234</c:v>
                </c:pt>
                <c:pt idx="6">
                  <c:v>3370</c:v>
                </c:pt>
                <c:pt idx="7">
                  <c:v>3749</c:v>
                </c:pt>
                <c:pt idx="8">
                  <c:v>3868</c:v>
                </c:pt>
                <c:pt idx="9">
                  <c:v>4349</c:v>
                </c:pt>
                <c:pt idx="10">
                  <c:v>4666</c:v>
                </c:pt>
                <c:pt idx="11">
                  <c:v>6014</c:v>
                </c:pt>
                <c:pt idx="12">
                  <c:v>7657</c:v>
                </c:pt>
                <c:pt idx="13">
                  <c:v>9668</c:v>
                </c:pt>
                <c:pt idx="14">
                  <c:v>12223</c:v>
                </c:pt>
                <c:pt idx="15">
                  <c:v>15355</c:v>
                </c:pt>
                <c:pt idx="16">
                  <c:v>15802</c:v>
                </c:pt>
                <c:pt idx="17">
                  <c:v>16156</c:v>
                </c:pt>
                <c:pt idx="18">
                  <c:v>18957</c:v>
                </c:pt>
                <c:pt idx="19">
                  <c:v>22148</c:v>
                </c:pt>
                <c:pt idx="20">
                  <c:v>25011</c:v>
                </c:pt>
                <c:pt idx="21">
                  <c:v>28201</c:v>
                </c:pt>
                <c:pt idx="22">
                  <c:v>30987</c:v>
                </c:pt>
                <c:pt idx="23">
                  <c:v>31369</c:v>
                </c:pt>
                <c:pt idx="24">
                  <c:v>31596</c:v>
                </c:pt>
                <c:pt idx="25">
                  <c:v>33550</c:v>
                </c:pt>
                <c:pt idx="26">
                  <c:v>35239</c:v>
                </c:pt>
                <c:pt idx="27">
                  <c:v>36884</c:v>
                </c:pt>
                <c:pt idx="28">
                  <c:v>38416</c:v>
                </c:pt>
                <c:pt idx="29">
                  <c:v>39726</c:v>
                </c:pt>
                <c:pt idx="30">
                  <c:v>39884</c:v>
                </c:pt>
                <c:pt idx="31">
                  <c:v>39993</c:v>
                </c:pt>
                <c:pt idx="32">
                  <c:v>40639</c:v>
                </c:pt>
                <c:pt idx="33">
                  <c:v>41413</c:v>
                </c:pt>
                <c:pt idx="34">
                  <c:v>42068</c:v>
                </c:pt>
                <c:pt idx="35">
                  <c:v>42675</c:v>
                </c:pt>
                <c:pt idx="36">
                  <c:v>43238</c:v>
                </c:pt>
                <c:pt idx="37">
                  <c:v>43261</c:v>
                </c:pt>
                <c:pt idx="38">
                  <c:v>43279</c:v>
                </c:pt>
                <c:pt idx="39">
                  <c:v>43636</c:v>
                </c:pt>
                <c:pt idx="40">
                  <c:v>43978</c:v>
                </c:pt>
                <c:pt idx="41">
                  <c:v>44339</c:v>
                </c:pt>
                <c:pt idx="42">
                  <c:v>44671</c:v>
                </c:pt>
                <c:pt idx="43">
                  <c:v>45089</c:v>
                </c:pt>
                <c:pt idx="44">
                  <c:v>45111</c:v>
                </c:pt>
                <c:pt idx="45">
                  <c:v>45131</c:v>
                </c:pt>
                <c:pt idx="46">
                  <c:v>45400</c:v>
                </c:pt>
                <c:pt idx="47">
                  <c:v>45722</c:v>
                </c:pt>
                <c:pt idx="48">
                  <c:v>46125</c:v>
                </c:pt>
                <c:pt idx="49">
                  <c:v>46598</c:v>
                </c:pt>
                <c:pt idx="50">
                  <c:v>47129</c:v>
                </c:pt>
                <c:pt idx="51">
                  <c:v>47303</c:v>
                </c:pt>
                <c:pt idx="52">
                  <c:v>47357</c:v>
                </c:pt>
                <c:pt idx="53">
                  <c:v>47909</c:v>
                </c:pt>
                <c:pt idx="54">
                  <c:v>48398</c:v>
                </c:pt>
                <c:pt idx="55">
                  <c:v>48968</c:v>
                </c:pt>
                <c:pt idx="56">
                  <c:v>49638</c:v>
                </c:pt>
                <c:pt idx="57">
                  <c:v>50393</c:v>
                </c:pt>
                <c:pt idx="58">
                  <c:v>50521</c:v>
                </c:pt>
                <c:pt idx="59">
                  <c:v>50580</c:v>
                </c:pt>
                <c:pt idx="60">
                  <c:v>51177</c:v>
                </c:pt>
                <c:pt idx="61">
                  <c:v>51991</c:v>
                </c:pt>
                <c:pt idx="62">
                  <c:v>52814</c:v>
                </c:pt>
                <c:pt idx="63">
                  <c:v>54040</c:v>
                </c:pt>
                <c:pt idx="64">
                  <c:v>55031</c:v>
                </c:pt>
                <c:pt idx="65">
                  <c:v>55107</c:v>
                </c:pt>
                <c:pt idx="66">
                  <c:v>55154</c:v>
                </c:pt>
                <c:pt idx="67">
                  <c:v>56044</c:v>
                </c:pt>
                <c:pt idx="68">
                  <c:v>56997</c:v>
                </c:pt>
                <c:pt idx="69">
                  <c:v>57989</c:v>
                </c:pt>
                <c:pt idx="70">
                  <c:v>58897</c:v>
                </c:pt>
                <c:pt idx="71">
                  <c:v>60085</c:v>
                </c:pt>
                <c:pt idx="72">
                  <c:v>60334</c:v>
                </c:pt>
                <c:pt idx="73">
                  <c:v>60522</c:v>
                </c:pt>
                <c:pt idx="74">
                  <c:v>61299</c:v>
                </c:pt>
                <c:pt idx="75">
                  <c:v>62225</c:v>
                </c:pt>
                <c:pt idx="76">
                  <c:v>63171</c:v>
                </c:pt>
                <c:pt idx="77">
                  <c:v>64497</c:v>
                </c:pt>
                <c:pt idx="78">
                  <c:v>65597</c:v>
                </c:pt>
                <c:pt idx="79">
                  <c:v>65833</c:v>
                </c:pt>
                <c:pt idx="80">
                  <c:v>66076</c:v>
                </c:pt>
                <c:pt idx="81">
                  <c:v>66780</c:v>
                </c:pt>
                <c:pt idx="82">
                  <c:v>67821</c:v>
                </c:pt>
                <c:pt idx="83">
                  <c:v>68842</c:v>
                </c:pt>
                <c:pt idx="84">
                  <c:v>69735</c:v>
                </c:pt>
                <c:pt idx="85">
                  <c:v>70710</c:v>
                </c:pt>
                <c:pt idx="86">
                  <c:v>71070</c:v>
                </c:pt>
                <c:pt idx="87">
                  <c:v>71243</c:v>
                </c:pt>
                <c:pt idx="88">
                  <c:v>71773</c:v>
                </c:pt>
                <c:pt idx="89">
                  <c:v>72326</c:v>
                </c:pt>
                <c:pt idx="90">
                  <c:v>72831</c:v>
                </c:pt>
                <c:pt idx="91">
                  <c:v>73388</c:v>
                </c:pt>
                <c:pt idx="92">
                  <c:v>73968</c:v>
                </c:pt>
                <c:pt idx="93">
                  <c:v>74120</c:v>
                </c:pt>
                <c:pt idx="94">
                  <c:v>74287</c:v>
                </c:pt>
                <c:pt idx="95">
                  <c:v>74635</c:v>
                </c:pt>
                <c:pt idx="96">
                  <c:v>75081</c:v>
                </c:pt>
                <c:pt idx="97">
                  <c:v>75550</c:v>
                </c:pt>
                <c:pt idx="98">
                  <c:v>76003</c:v>
                </c:pt>
                <c:pt idx="99">
                  <c:v>76108</c:v>
                </c:pt>
                <c:pt idx="100">
                  <c:v>76150</c:v>
                </c:pt>
                <c:pt idx="101">
                  <c:v>76199</c:v>
                </c:pt>
                <c:pt idx="102">
                  <c:v>76235</c:v>
                </c:pt>
                <c:pt idx="103">
                  <c:v>76481</c:v>
                </c:pt>
                <c:pt idx="104">
                  <c:v>76798</c:v>
                </c:pt>
                <c:pt idx="105">
                  <c:v>77337</c:v>
                </c:pt>
                <c:pt idx="106">
                  <c:v>77911</c:v>
                </c:pt>
                <c:pt idx="107">
                  <c:v>78069</c:v>
                </c:pt>
                <c:pt idx="108">
                  <c:v>78169</c:v>
                </c:pt>
                <c:pt idx="109">
                  <c:v>78595</c:v>
                </c:pt>
                <c:pt idx="110">
                  <c:v>78973</c:v>
                </c:pt>
                <c:pt idx="111">
                  <c:v>79426</c:v>
                </c:pt>
                <c:pt idx="112">
                  <c:v>80082</c:v>
                </c:pt>
                <c:pt idx="113">
                  <c:v>80807</c:v>
                </c:pt>
                <c:pt idx="114">
                  <c:v>81010</c:v>
                </c:pt>
                <c:pt idx="115">
                  <c:v>81201</c:v>
                </c:pt>
                <c:pt idx="116">
                  <c:v>81720</c:v>
                </c:pt>
                <c:pt idx="117">
                  <c:v>82224</c:v>
                </c:pt>
                <c:pt idx="118">
                  <c:v>82882</c:v>
                </c:pt>
                <c:pt idx="119">
                  <c:v>83606</c:v>
                </c:pt>
                <c:pt idx="120">
                  <c:v>84319</c:v>
                </c:pt>
                <c:pt idx="121">
                  <c:v>84519</c:v>
                </c:pt>
                <c:pt idx="122">
                  <c:v>84707</c:v>
                </c:pt>
                <c:pt idx="123">
                  <c:v>85314</c:v>
                </c:pt>
                <c:pt idx="124">
                  <c:v>85862</c:v>
                </c:pt>
                <c:pt idx="125">
                  <c:v>86565</c:v>
                </c:pt>
                <c:pt idx="126">
                  <c:v>87324</c:v>
                </c:pt>
                <c:pt idx="127">
                  <c:v>87971</c:v>
                </c:pt>
                <c:pt idx="128">
                  <c:v>88125</c:v>
                </c:pt>
                <c:pt idx="129">
                  <c:v>88278</c:v>
                </c:pt>
                <c:pt idx="130">
                  <c:v>88786</c:v>
                </c:pt>
                <c:pt idx="131">
                  <c:v>89307</c:v>
                </c:pt>
                <c:pt idx="132">
                  <c:v>89832</c:v>
                </c:pt>
                <c:pt idx="133">
                  <c:v>90380</c:v>
                </c:pt>
                <c:pt idx="134">
                  <c:v>90949</c:v>
                </c:pt>
                <c:pt idx="135">
                  <c:v>91166</c:v>
                </c:pt>
                <c:pt idx="136">
                  <c:v>91273</c:v>
                </c:pt>
                <c:pt idx="137">
                  <c:v>91670</c:v>
                </c:pt>
                <c:pt idx="138">
                  <c:v>92149</c:v>
                </c:pt>
                <c:pt idx="139">
                  <c:v>92582</c:v>
                </c:pt>
                <c:pt idx="140">
                  <c:v>93018</c:v>
                </c:pt>
                <c:pt idx="141">
                  <c:v>93383</c:v>
                </c:pt>
                <c:pt idx="142">
                  <c:v>93542</c:v>
                </c:pt>
                <c:pt idx="143">
                  <c:v>93646</c:v>
                </c:pt>
                <c:pt idx="144">
                  <c:v>93963</c:v>
                </c:pt>
                <c:pt idx="145">
                  <c:v>94336</c:v>
                </c:pt>
                <c:pt idx="146">
                  <c:v>94695</c:v>
                </c:pt>
                <c:pt idx="147">
                  <c:v>95086</c:v>
                </c:pt>
                <c:pt idx="148">
                  <c:v>95449</c:v>
                </c:pt>
                <c:pt idx="149">
                  <c:v>95594</c:v>
                </c:pt>
                <c:pt idx="150">
                  <c:v>95692</c:v>
                </c:pt>
                <c:pt idx="151">
                  <c:v>95905</c:v>
                </c:pt>
                <c:pt idx="152">
                  <c:v>96144</c:v>
                </c:pt>
                <c:pt idx="153">
                  <c:v>96494</c:v>
                </c:pt>
                <c:pt idx="154">
                  <c:v>96824</c:v>
                </c:pt>
                <c:pt idx="155">
                  <c:v>97108</c:v>
                </c:pt>
                <c:pt idx="156">
                  <c:v>97250</c:v>
                </c:pt>
                <c:pt idx="157">
                  <c:v>97340</c:v>
                </c:pt>
                <c:pt idx="158">
                  <c:v>97617</c:v>
                </c:pt>
                <c:pt idx="159">
                  <c:v>97888</c:v>
                </c:pt>
                <c:pt idx="160">
                  <c:v>98231</c:v>
                </c:pt>
                <c:pt idx="161">
                  <c:v>98584</c:v>
                </c:pt>
                <c:pt idx="162">
                  <c:v>98909</c:v>
                </c:pt>
                <c:pt idx="163">
                  <c:v>99045</c:v>
                </c:pt>
                <c:pt idx="164">
                  <c:v>99175</c:v>
                </c:pt>
                <c:pt idx="165">
                  <c:v>99510</c:v>
                </c:pt>
                <c:pt idx="166">
                  <c:v>99850</c:v>
                </c:pt>
                <c:pt idx="167">
                  <c:v>100198</c:v>
                </c:pt>
                <c:pt idx="168">
                  <c:v>100552</c:v>
                </c:pt>
                <c:pt idx="169">
                  <c:v>100853</c:v>
                </c:pt>
                <c:pt idx="170">
                  <c:v>101060</c:v>
                </c:pt>
                <c:pt idx="171">
                  <c:v>101176</c:v>
                </c:pt>
                <c:pt idx="172">
                  <c:v>101418</c:v>
                </c:pt>
                <c:pt idx="173">
                  <c:v>101689</c:v>
                </c:pt>
                <c:pt idx="174">
                  <c:v>101931</c:v>
                </c:pt>
                <c:pt idx="175">
                  <c:v>102199</c:v>
                </c:pt>
                <c:pt idx="176">
                  <c:v>102416</c:v>
                </c:pt>
                <c:pt idx="177">
                  <c:v>102534</c:v>
                </c:pt>
                <c:pt idx="178">
                  <c:v>102627</c:v>
                </c:pt>
                <c:pt idx="179">
                  <c:v>102805</c:v>
                </c:pt>
                <c:pt idx="180">
                  <c:v>103024</c:v>
                </c:pt>
                <c:pt idx="181">
                  <c:v>103213</c:v>
                </c:pt>
                <c:pt idx="182">
                  <c:v>103373</c:v>
                </c:pt>
                <c:pt idx="183">
                  <c:v>103560</c:v>
                </c:pt>
                <c:pt idx="184">
                  <c:v>103651</c:v>
                </c:pt>
                <c:pt idx="185">
                  <c:v>103718</c:v>
                </c:pt>
                <c:pt idx="186">
                  <c:v>103899</c:v>
                </c:pt>
                <c:pt idx="187">
                  <c:v>104067</c:v>
                </c:pt>
                <c:pt idx="188">
                  <c:v>104247</c:v>
                </c:pt>
                <c:pt idx="189">
                  <c:v>104388</c:v>
                </c:pt>
                <c:pt idx="190">
                  <c:v>104581</c:v>
                </c:pt>
                <c:pt idx="191">
                  <c:v>104614</c:v>
                </c:pt>
                <c:pt idx="192">
                  <c:v>104659</c:v>
                </c:pt>
                <c:pt idx="193">
                  <c:v>104707</c:v>
                </c:pt>
                <c:pt idx="194">
                  <c:v>104739</c:v>
                </c:pt>
                <c:pt idx="195">
                  <c:v>104903</c:v>
                </c:pt>
                <c:pt idx="196">
                  <c:v>105081</c:v>
                </c:pt>
                <c:pt idx="197">
                  <c:v>105250</c:v>
                </c:pt>
                <c:pt idx="198">
                  <c:v>105309</c:v>
                </c:pt>
                <c:pt idx="199">
                  <c:v>105358</c:v>
                </c:pt>
                <c:pt idx="200">
                  <c:v>105520</c:v>
                </c:pt>
                <c:pt idx="201">
                  <c:v>105705</c:v>
                </c:pt>
                <c:pt idx="202">
                  <c:v>105909</c:v>
                </c:pt>
                <c:pt idx="203">
                  <c:v>106099</c:v>
                </c:pt>
                <c:pt idx="204">
                  <c:v>106282</c:v>
                </c:pt>
                <c:pt idx="205">
                  <c:v>106332</c:v>
                </c:pt>
                <c:pt idx="206">
                  <c:v>106390</c:v>
                </c:pt>
                <c:pt idx="207">
                  <c:v>106561</c:v>
                </c:pt>
                <c:pt idx="208">
                  <c:v>106710</c:v>
                </c:pt>
                <c:pt idx="209">
                  <c:v>106890</c:v>
                </c:pt>
                <c:pt idx="210">
                  <c:v>107067</c:v>
                </c:pt>
                <c:pt idx="211">
                  <c:v>107214</c:v>
                </c:pt>
                <c:pt idx="212">
                  <c:v>107258</c:v>
                </c:pt>
                <c:pt idx="213">
                  <c:v>107284</c:v>
                </c:pt>
                <c:pt idx="214">
                  <c:v>107452</c:v>
                </c:pt>
                <c:pt idx="215">
                  <c:v>107622</c:v>
                </c:pt>
                <c:pt idx="216">
                  <c:v>107773</c:v>
                </c:pt>
                <c:pt idx="217">
                  <c:v>107922</c:v>
                </c:pt>
                <c:pt idx="218">
                  <c:v>108087</c:v>
                </c:pt>
                <c:pt idx="219">
                  <c:v>108126</c:v>
                </c:pt>
                <c:pt idx="220">
                  <c:v>108166</c:v>
                </c:pt>
                <c:pt idx="221">
                  <c:v>108265</c:v>
                </c:pt>
                <c:pt idx="222">
                  <c:v>108377</c:v>
                </c:pt>
                <c:pt idx="223">
                  <c:v>108506</c:v>
                </c:pt>
                <c:pt idx="224">
                  <c:v>108615</c:v>
                </c:pt>
                <c:pt idx="225">
                  <c:v>108735</c:v>
                </c:pt>
                <c:pt idx="226">
                  <c:v>108757</c:v>
                </c:pt>
                <c:pt idx="227">
                  <c:v>108782</c:v>
                </c:pt>
                <c:pt idx="228">
                  <c:v>108867</c:v>
                </c:pt>
                <c:pt idx="229">
                  <c:v>108946</c:v>
                </c:pt>
                <c:pt idx="230">
                  <c:v>109016</c:v>
                </c:pt>
                <c:pt idx="231">
                  <c:v>109122</c:v>
                </c:pt>
                <c:pt idx="232">
                  <c:v>109185</c:v>
                </c:pt>
                <c:pt idx="233">
                  <c:v>109206</c:v>
                </c:pt>
                <c:pt idx="234">
                  <c:v>109228</c:v>
                </c:pt>
                <c:pt idx="235">
                  <c:v>109314</c:v>
                </c:pt>
                <c:pt idx="236">
                  <c:v>109393</c:v>
                </c:pt>
                <c:pt idx="237">
                  <c:v>109456</c:v>
                </c:pt>
                <c:pt idx="238">
                  <c:v>109526</c:v>
                </c:pt>
                <c:pt idx="239">
                  <c:v>109641</c:v>
                </c:pt>
                <c:pt idx="240">
                  <c:v>109655</c:v>
                </c:pt>
                <c:pt idx="241">
                  <c:v>109666</c:v>
                </c:pt>
                <c:pt idx="242">
                  <c:v>109762</c:v>
                </c:pt>
                <c:pt idx="243">
                  <c:v>109850</c:v>
                </c:pt>
                <c:pt idx="244">
                  <c:v>109917</c:v>
                </c:pt>
                <c:pt idx="245">
                  <c:v>109989</c:v>
                </c:pt>
                <c:pt idx="246">
                  <c:v>110077</c:v>
                </c:pt>
                <c:pt idx="247">
                  <c:v>110093</c:v>
                </c:pt>
                <c:pt idx="248">
                  <c:v>110109</c:v>
                </c:pt>
                <c:pt idx="249">
                  <c:v>110181</c:v>
                </c:pt>
                <c:pt idx="250">
                  <c:v>110242</c:v>
                </c:pt>
                <c:pt idx="251">
                  <c:v>110298</c:v>
                </c:pt>
                <c:pt idx="252">
                  <c:v>110372</c:v>
                </c:pt>
                <c:pt idx="253">
                  <c:v>110448</c:v>
                </c:pt>
                <c:pt idx="254">
                  <c:v>110460</c:v>
                </c:pt>
                <c:pt idx="255">
                  <c:v>110470</c:v>
                </c:pt>
                <c:pt idx="256">
                  <c:v>110529</c:v>
                </c:pt>
                <c:pt idx="257">
                  <c:v>110571</c:v>
                </c:pt>
                <c:pt idx="258">
                  <c:v>110622</c:v>
                </c:pt>
                <c:pt idx="259">
                  <c:v>110677</c:v>
                </c:pt>
                <c:pt idx="260">
                  <c:v>110728</c:v>
                </c:pt>
                <c:pt idx="261">
                  <c:v>110745</c:v>
                </c:pt>
                <c:pt idx="262">
                  <c:v>110752</c:v>
                </c:pt>
                <c:pt idx="263">
                  <c:v>110796</c:v>
                </c:pt>
                <c:pt idx="264">
                  <c:v>110859</c:v>
                </c:pt>
                <c:pt idx="265">
                  <c:v>110907</c:v>
                </c:pt>
                <c:pt idx="266">
                  <c:v>110964</c:v>
                </c:pt>
                <c:pt idx="267">
                  <c:v>111032</c:v>
                </c:pt>
                <c:pt idx="268">
                  <c:v>111049</c:v>
                </c:pt>
                <c:pt idx="269">
                  <c:v>111055</c:v>
                </c:pt>
                <c:pt idx="270">
                  <c:v>111093</c:v>
                </c:pt>
                <c:pt idx="271">
                  <c:v>111142</c:v>
                </c:pt>
                <c:pt idx="272">
                  <c:v>111185</c:v>
                </c:pt>
                <c:pt idx="273">
                  <c:v>111238</c:v>
                </c:pt>
                <c:pt idx="274">
                  <c:v>111310</c:v>
                </c:pt>
                <c:pt idx="275">
                  <c:v>111320</c:v>
                </c:pt>
                <c:pt idx="276">
                  <c:v>111324</c:v>
                </c:pt>
                <c:pt idx="277">
                  <c:v>111367</c:v>
                </c:pt>
                <c:pt idx="278">
                  <c:v>111369</c:v>
                </c:pt>
                <c:pt idx="279">
                  <c:v>111410</c:v>
                </c:pt>
                <c:pt idx="280">
                  <c:v>111449</c:v>
                </c:pt>
                <c:pt idx="281">
                  <c:v>111483</c:v>
                </c:pt>
                <c:pt idx="282">
                  <c:v>111490</c:v>
                </c:pt>
                <c:pt idx="283">
                  <c:v>111497</c:v>
                </c:pt>
                <c:pt idx="284">
                  <c:v>111525</c:v>
                </c:pt>
                <c:pt idx="285">
                  <c:v>111572</c:v>
                </c:pt>
                <c:pt idx="286">
                  <c:v>111621</c:v>
                </c:pt>
                <c:pt idx="287">
                  <c:v>111649</c:v>
                </c:pt>
                <c:pt idx="288">
                  <c:v>111700</c:v>
                </c:pt>
                <c:pt idx="289">
                  <c:v>111710</c:v>
                </c:pt>
                <c:pt idx="290">
                  <c:v>111715</c:v>
                </c:pt>
                <c:pt idx="291">
                  <c:v>111745</c:v>
                </c:pt>
                <c:pt idx="292">
                  <c:v>111766</c:v>
                </c:pt>
                <c:pt idx="293">
                  <c:v>111803</c:v>
                </c:pt>
                <c:pt idx="294">
                  <c:v>111832</c:v>
                </c:pt>
                <c:pt idx="295">
                  <c:v>111876</c:v>
                </c:pt>
                <c:pt idx="296">
                  <c:v>111888</c:v>
                </c:pt>
                <c:pt idx="297">
                  <c:v>111905</c:v>
                </c:pt>
                <c:pt idx="298">
                  <c:v>111957</c:v>
                </c:pt>
                <c:pt idx="299">
                  <c:v>112012</c:v>
                </c:pt>
                <c:pt idx="300">
                  <c:v>112071</c:v>
                </c:pt>
                <c:pt idx="301">
                  <c:v>112185</c:v>
                </c:pt>
                <c:pt idx="302">
                  <c:v>112309</c:v>
                </c:pt>
                <c:pt idx="303">
                  <c:v>112335</c:v>
                </c:pt>
                <c:pt idx="304">
                  <c:v>112359</c:v>
                </c:pt>
                <c:pt idx="305">
                  <c:v>112484</c:v>
                </c:pt>
                <c:pt idx="306">
                  <c:v>112653</c:v>
                </c:pt>
                <c:pt idx="307">
                  <c:v>112854</c:v>
                </c:pt>
                <c:pt idx="308">
                  <c:v>112891</c:v>
                </c:pt>
                <c:pt idx="309">
                  <c:v>113053</c:v>
                </c:pt>
                <c:pt idx="310">
                  <c:v>113099</c:v>
                </c:pt>
                <c:pt idx="311">
                  <c:v>113131</c:v>
                </c:pt>
                <c:pt idx="312">
                  <c:v>113299</c:v>
                </c:pt>
                <c:pt idx="313">
                  <c:v>113494</c:v>
                </c:pt>
                <c:pt idx="314">
                  <c:v>113682</c:v>
                </c:pt>
                <c:pt idx="315">
                  <c:v>113912</c:v>
                </c:pt>
                <c:pt idx="316">
                  <c:v>114158</c:v>
                </c:pt>
                <c:pt idx="317">
                  <c:v>114215</c:v>
                </c:pt>
                <c:pt idx="318">
                  <c:v>114253</c:v>
                </c:pt>
                <c:pt idx="319">
                  <c:v>114439</c:v>
                </c:pt>
                <c:pt idx="320">
                  <c:v>114593</c:v>
                </c:pt>
                <c:pt idx="321">
                  <c:v>114781</c:v>
                </c:pt>
                <c:pt idx="322">
                  <c:v>114958</c:v>
                </c:pt>
                <c:pt idx="323">
                  <c:v>115162</c:v>
                </c:pt>
                <c:pt idx="324">
                  <c:v>115221</c:v>
                </c:pt>
                <c:pt idx="325">
                  <c:v>115258</c:v>
                </c:pt>
                <c:pt idx="326">
                  <c:v>115451</c:v>
                </c:pt>
                <c:pt idx="327">
                  <c:v>115657</c:v>
                </c:pt>
                <c:pt idx="328">
                  <c:v>115708</c:v>
                </c:pt>
                <c:pt idx="329">
                  <c:v>115930</c:v>
                </c:pt>
                <c:pt idx="330">
                  <c:v>116203</c:v>
                </c:pt>
                <c:pt idx="331">
                  <c:v>116295</c:v>
                </c:pt>
                <c:pt idx="332">
                  <c:v>116362</c:v>
                </c:pt>
                <c:pt idx="333">
                  <c:v>116546</c:v>
                </c:pt>
                <c:pt idx="334">
                  <c:v>116726</c:v>
                </c:pt>
                <c:pt idx="335">
                  <c:v>116951</c:v>
                </c:pt>
                <c:pt idx="336">
                  <c:v>117166</c:v>
                </c:pt>
                <c:pt idx="337">
                  <c:v>117407</c:v>
                </c:pt>
                <c:pt idx="338">
                  <c:v>117468</c:v>
                </c:pt>
                <c:pt idx="339">
                  <c:v>117492</c:v>
                </c:pt>
                <c:pt idx="340">
                  <c:v>117638</c:v>
                </c:pt>
                <c:pt idx="341">
                  <c:v>117792</c:v>
                </c:pt>
                <c:pt idx="342">
                  <c:v>117943</c:v>
                </c:pt>
                <c:pt idx="343">
                  <c:v>1180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9B2-46E3-85FE-A83BCF6CC085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P</c:v>
                </c:pt>
              </c:strCache>
            </c:strRef>
          </c:tx>
          <c:spPr>
            <a:ln w="28575" cap="rnd">
              <a:solidFill>
                <a:srgbClr val="A6A6A6"/>
              </a:solidFill>
              <a:round/>
            </a:ln>
            <a:effectLst/>
          </c:spPr>
          <c:marker>
            <c:symbol val="none"/>
          </c:marker>
          <c:cat>
            <c:strRef>
              <c:f>List1!$F$1:$MK$1</c:f>
              <c:strCache>
                <c:ptCount val="344"/>
                <c:pt idx="0">
                  <c:v>24-XII.</c:v>
                </c:pt>
                <c:pt idx="1">
                  <c:v>25-XII.</c:v>
                </c:pt>
                <c:pt idx="2">
                  <c:v>26-XII.</c:v>
                </c:pt>
                <c:pt idx="3">
                  <c:v>27-XII.</c:v>
                </c:pt>
                <c:pt idx="4">
                  <c:v>28-XII.</c:v>
                </c:pt>
                <c:pt idx="5">
                  <c:v>29-XII.</c:v>
                </c:pt>
                <c:pt idx="6">
                  <c:v>30-XII.</c:v>
                </c:pt>
                <c:pt idx="7">
                  <c:v>31-XII.</c:v>
                </c:pt>
                <c:pt idx="8">
                  <c:v>1-I.</c:v>
                </c:pt>
                <c:pt idx="9">
                  <c:v>2-I.</c:v>
                </c:pt>
                <c:pt idx="10">
                  <c:v>3-I.</c:v>
                </c:pt>
                <c:pt idx="11">
                  <c:v>4-I.</c:v>
                </c:pt>
                <c:pt idx="12">
                  <c:v>5-I.</c:v>
                </c:pt>
                <c:pt idx="13">
                  <c:v>6-I.</c:v>
                </c:pt>
                <c:pt idx="14">
                  <c:v>7-I.</c:v>
                </c:pt>
                <c:pt idx="15">
                  <c:v>8-I.</c:v>
                </c:pt>
                <c:pt idx="16">
                  <c:v>9-I.</c:v>
                </c:pt>
                <c:pt idx="17">
                  <c:v>10-I.</c:v>
                </c:pt>
                <c:pt idx="18">
                  <c:v>11-I.</c:v>
                </c:pt>
                <c:pt idx="19">
                  <c:v>12-I.</c:v>
                </c:pt>
                <c:pt idx="20">
                  <c:v>13-I.</c:v>
                </c:pt>
                <c:pt idx="21">
                  <c:v>14-I.</c:v>
                </c:pt>
                <c:pt idx="22">
                  <c:v>15-I.</c:v>
                </c:pt>
                <c:pt idx="23">
                  <c:v>16-I.</c:v>
                </c:pt>
                <c:pt idx="24">
                  <c:v>17-I.</c:v>
                </c:pt>
                <c:pt idx="25">
                  <c:v>18-I.</c:v>
                </c:pt>
                <c:pt idx="26">
                  <c:v>19-I.</c:v>
                </c:pt>
                <c:pt idx="27">
                  <c:v>20-I.</c:v>
                </c:pt>
                <c:pt idx="28">
                  <c:v>21-I.</c:v>
                </c:pt>
                <c:pt idx="29">
                  <c:v>22-I.</c:v>
                </c:pt>
                <c:pt idx="30">
                  <c:v>23-I.</c:v>
                </c:pt>
                <c:pt idx="31">
                  <c:v>24-I.</c:v>
                </c:pt>
                <c:pt idx="32">
                  <c:v>25-I.</c:v>
                </c:pt>
                <c:pt idx="33">
                  <c:v>26-I.</c:v>
                </c:pt>
                <c:pt idx="34">
                  <c:v>27-I.</c:v>
                </c:pt>
                <c:pt idx="35">
                  <c:v>28-I.</c:v>
                </c:pt>
                <c:pt idx="36">
                  <c:v>29-I.</c:v>
                </c:pt>
                <c:pt idx="37">
                  <c:v>30-I.</c:v>
                </c:pt>
                <c:pt idx="38">
                  <c:v>31-I.</c:v>
                </c:pt>
                <c:pt idx="39">
                  <c:v>1-II.</c:v>
                </c:pt>
                <c:pt idx="40">
                  <c:v>2-II.</c:v>
                </c:pt>
                <c:pt idx="41">
                  <c:v>3-II.</c:v>
                </c:pt>
                <c:pt idx="42">
                  <c:v>4-II.</c:v>
                </c:pt>
                <c:pt idx="43">
                  <c:v>5-II.</c:v>
                </c:pt>
                <c:pt idx="44">
                  <c:v>6-II.</c:v>
                </c:pt>
                <c:pt idx="45">
                  <c:v>7-II.</c:v>
                </c:pt>
                <c:pt idx="46">
                  <c:v>8-II.</c:v>
                </c:pt>
                <c:pt idx="47">
                  <c:v>9-II.</c:v>
                </c:pt>
                <c:pt idx="48">
                  <c:v>10-II.</c:v>
                </c:pt>
                <c:pt idx="49">
                  <c:v>11-II.</c:v>
                </c:pt>
                <c:pt idx="50">
                  <c:v>12-II.</c:v>
                </c:pt>
                <c:pt idx="51">
                  <c:v>13-II.</c:v>
                </c:pt>
                <c:pt idx="52">
                  <c:v>14-II.</c:v>
                </c:pt>
                <c:pt idx="53">
                  <c:v>15-II.</c:v>
                </c:pt>
                <c:pt idx="54">
                  <c:v>16-II.</c:v>
                </c:pt>
                <c:pt idx="55">
                  <c:v>17-II.</c:v>
                </c:pt>
                <c:pt idx="56">
                  <c:v>18-II.</c:v>
                </c:pt>
                <c:pt idx="57">
                  <c:v>19-II.</c:v>
                </c:pt>
                <c:pt idx="58">
                  <c:v>20-II.</c:v>
                </c:pt>
                <c:pt idx="59">
                  <c:v>21-II.</c:v>
                </c:pt>
                <c:pt idx="60">
                  <c:v>22-II.</c:v>
                </c:pt>
                <c:pt idx="61">
                  <c:v>23-II.</c:v>
                </c:pt>
                <c:pt idx="62">
                  <c:v>24-II.</c:v>
                </c:pt>
                <c:pt idx="63">
                  <c:v>25-II.</c:v>
                </c:pt>
                <c:pt idx="64">
                  <c:v>26-II.</c:v>
                </c:pt>
                <c:pt idx="65">
                  <c:v>27-II.</c:v>
                </c:pt>
                <c:pt idx="66">
                  <c:v>28-II.</c:v>
                </c:pt>
                <c:pt idx="67">
                  <c:v>1-III.</c:v>
                </c:pt>
                <c:pt idx="68">
                  <c:v>2-III.</c:v>
                </c:pt>
                <c:pt idx="69">
                  <c:v>3-III.</c:v>
                </c:pt>
                <c:pt idx="70">
                  <c:v>4-III.</c:v>
                </c:pt>
                <c:pt idx="71">
                  <c:v>5-III.</c:v>
                </c:pt>
                <c:pt idx="72">
                  <c:v>6-III.</c:v>
                </c:pt>
                <c:pt idx="73">
                  <c:v>7-III.</c:v>
                </c:pt>
                <c:pt idx="74">
                  <c:v>8-III.</c:v>
                </c:pt>
                <c:pt idx="75">
                  <c:v>9-III.</c:v>
                </c:pt>
                <c:pt idx="76">
                  <c:v>10-III.</c:v>
                </c:pt>
                <c:pt idx="77">
                  <c:v>11-III.</c:v>
                </c:pt>
                <c:pt idx="78">
                  <c:v>12-III.</c:v>
                </c:pt>
                <c:pt idx="79">
                  <c:v>13-III.</c:v>
                </c:pt>
                <c:pt idx="80">
                  <c:v>14-III.</c:v>
                </c:pt>
                <c:pt idx="81">
                  <c:v>15-III.</c:v>
                </c:pt>
                <c:pt idx="82">
                  <c:v>16-III.</c:v>
                </c:pt>
                <c:pt idx="83">
                  <c:v>17-III.</c:v>
                </c:pt>
                <c:pt idx="84">
                  <c:v>18-III.</c:v>
                </c:pt>
                <c:pt idx="85">
                  <c:v>19-III.</c:v>
                </c:pt>
                <c:pt idx="86">
                  <c:v>20-III.</c:v>
                </c:pt>
                <c:pt idx="87">
                  <c:v>21-III.</c:v>
                </c:pt>
                <c:pt idx="88">
                  <c:v>22-III.</c:v>
                </c:pt>
                <c:pt idx="89">
                  <c:v>23-III.</c:v>
                </c:pt>
                <c:pt idx="90">
                  <c:v>24-III.</c:v>
                </c:pt>
                <c:pt idx="91">
                  <c:v>25-III.</c:v>
                </c:pt>
                <c:pt idx="92">
                  <c:v>26-III.</c:v>
                </c:pt>
                <c:pt idx="93">
                  <c:v>27-III.</c:v>
                </c:pt>
                <c:pt idx="94">
                  <c:v>28-III.</c:v>
                </c:pt>
                <c:pt idx="95">
                  <c:v>29-III.</c:v>
                </c:pt>
                <c:pt idx="96">
                  <c:v>30-III.</c:v>
                </c:pt>
                <c:pt idx="97">
                  <c:v>31-III.</c:v>
                </c:pt>
                <c:pt idx="98">
                  <c:v>1-IV.</c:v>
                </c:pt>
                <c:pt idx="99">
                  <c:v>2-IV.</c:v>
                </c:pt>
                <c:pt idx="100">
                  <c:v>3-IV.</c:v>
                </c:pt>
                <c:pt idx="101">
                  <c:v>4-IV.</c:v>
                </c:pt>
                <c:pt idx="102">
                  <c:v>5-IV.</c:v>
                </c:pt>
                <c:pt idx="103">
                  <c:v>6-IV.</c:v>
                </c:pt>
                <c:pt idx="104">
                  <c:v>7-IV.</c:v>
                </c:pt>
                <c:pt idx="105">
                  <c:v>8-IV.</c:v>
                </c:pt>
                <c:pt idx="106">
                  <c:v>9-IV.</c:v>
                </c:pt>
                <c:pt idx="107">
                  <c:v>10-IV.</c:v>
                </c:pt>
                <c:pt idx="108">
                  <c:v>11-IV.</c:v>
                </c:pt>
                <c:pt idx="109">
                  <c:v>12-IV.</c:v>
                </c:pt>
                <c:pt idx="110">
                  <c:v>13-IV.</c:v>
                </c:pt>
                <c:pt idx="111">
                  <c:v>14-IV.</c:v>
                </c:pt>
                <c:pt idx="112">
                  <c:v>15-IV.</c:v>
                </c:pt>
                <c:pt idx="113">
                  <c:v>16-IV.</c:v>
                </c:pt>
                <c:pt idx="114">
                  <c:v>17-IV.</c:v>
                </c:pt>
                <c:pt idx="115">
                  <c:v>18-IV.</c:v>
                </c:pt>
                <c:pt idx="116">
                  <c:v>19-IV.</c:v>
                </c:pt>
                <c:pt idx="117">
                  <c:v>20-IV.</c:v>
                </c:pt>
                <c:pt idx="118">
                  <c:v>21-IV.</c:v>
                </c:pt>
                <c:pt idx="119">
                  <c:v>22-IV.</c:v>
                </c:pt>
                <c:pt idx="120">
                  <c:v>23-IV.</c:v>
                </c:pt>
                <c:pt idx="121">
                  <c:v>24-IV.</c:v>
                </c:pt>
                <c:pt idx="122">
                  <c:v>25-IV.</c:v>
                </c:pt>
                <c:pt idx="123">
                  <c:v>26-IV.</c:v>
                </c:pt>
                <c:pt idx="124">
                  <c:v>27-IV.</c:v>
                </c:pt>
                <c:pt idx="125">
                  <c:v>28-IV.</c:v>
                </c:pt>
                <c:pt idx="126">
                  <c:v>29-IV.</c:v>
                </c:pt>
                <c:pt idx="127">
                  <c:v>30-IV.</c:v>
                </c:pt>
                <c:pt idx="128">
                  <c:v>1-V.</c:v>
                </c:pt>
                <c:pt idx="129">
                  <c:v>2-V.</c:v>
                </c:pt>
                <c:pt idx="130">
                  <c:v>3-V.</c:v>
                </c:pt>
                <c:pt idx="131">
                  <c:v>4-V.</c:v>
                </c:pt>
                <c:pt idx="132">
                  <c:v>5-V.</c:v>
                </c:pt>
                <c:pt idx="133">
                  <c:v>6-V.</c:v>
                </c:pt>
                <c:pt idx="134">
                  <c:v>7-V.</c:v>
                </c:pt>
                <c:pt idx="135">
                  <c:v>8-V.</c:v>
                </c:pt>
                <c:pt idx="136">
                  <c:v>9-V.</c:v>
                </c:pt>
                <c:pt idx="137">
                  <c:v>10-V.</c:v>
                </c:pt>
                <c:pt idx="138">
                  <c:v>11-V.</c:v>
                </c:pt>
                <c:pt idx="139">
                  <c:v>12-V.</c:v>
                </c:pt>
                <c:pt idx="140">
                  <c:v>13-V.</c:v>
                </c:pt>
                <c:pt idx="141">
                  <c:v>14-V.</c:v>
                </c:pt>
                <c:pt idx="142">
                  <c:v>15-V.</c:v>
                </c:pt>
                <c:pt idx="143">
                  <c:v>16-V.</c:v>
                </c:pt>
                <c:pt idx="144">
                  <c:v>17-V.</c:v>
                </c:pt>
                <c:pt idx="145">
                  <c:v>18-V.</c:v>
                </c:pt>
                <c:pt idx="146">
                  <c:v>19-V.</c:v>
                </c:pt>
                <c:pt idx="147">
                  <c:v>20-V.</c:v>
                </c:pt>
                <c:pt idx="148">
                  <c:v>21-V.</c:v>
                </c:pt>
                <c:pt idx="149">
                  <c:v>22-V.</c:v>
                </c:pt>
                <c:pt idx="150">
                  <c:v>23-V.</c:v>
                </c:pt>
                <c:pt idx="151">
                  <c:v>24-V.</c:v>
                </c:pt>
                <c:pt idx="152">
                  <c:v>25-V.</c:v>
                </c:pt>
                <c:pt idx="153">
                  <c:v>26-V.</c:v>
                </c:pt>
                <c:pt idx="154">
                  <c:v>27-V.</c:v>
                </c:pt>
                <c:pt idx="155">
                  <c:v>28-V.</c:v>
                </c:pt>
                <c:pt idx="156">
                  <c:v>29-V.</c:v>
                </c:pt>
                <c:pt idx="157">
                  <c:v>30-V.</c:v>
                </c:pt>
                <c:pt idx="158">
                  <c:v>31-V.</c:v>
                </c:pt>
                <c:pt idx="159">
                  <c:v>1-VI.</c:v>
                </c:pt>
                <c:pt idx="160">
                  <c:v>2-VI.</c:v>
                </c:pt>
                <c:pt idx="161">
                  <c:v>3-VI.</c:v>
                </c:pt>
                <c:pt idx="162">
                  <c:v>4-VI.</c:v>
                </c:pt>
                <c:pt idx="163">
                  <c:v>5-VI.</c:v>
                </c:pt>
                <c:pt idx="164">
                  <c:v>6-VI.</c:v>
                </c:pt>
                <c:pt idx="165">
                  <c:v>7-VI.</c:v>
                </c:pt>
                <c:pt idx="166">
                  <c:v>8-VI.</c:v>
                </c:pt>
                <c:pt idx="167">
                  <c:v>9-VI.</c:v>
                </c:pt>
                <c:pt idx="168">
                  <c:v>10-VI.</c:v>
                </c:pt>
                <c:pt idx="169">
                  <c:v>11-VI.</c:v>
                </c:pt>
                <c:pt idx="170">
                  <c:v>12-VI.</c:v>
                </c:pt>
                <c:pt idx="171">
                  <c:v>13-VI.</c:v>
                </c:pt>
                <c:pt idx="172">
                  <c:v>14-VI.</c:v>
                </c:pt>
                <c:pt idx="173">
                  <c:v>15-VI.</c:v>
                </c:pt>
                <c:pt idx="174">
                  <c:v>16-VI.</c:v>
                </c:pt>
                <c:pt idx="175">
                  <c:v>17-VI.</c:v>
                </c:pt>
                <c:pt idx="176">
                  <c:v>18-VI.</c:v>
                </c:pt>
                <c:pt idx="177">
                  <c:v>19-VI.</c:v>
                </c:pt>
                <c:pt idx="178">
                  <c:v>20-VI.</c:v>
                </c:pt>
                <c:pt idx="179">
                  <c:v>21-VI.</c:v>
                </c:pt>
                <c:pt idx="180">
                  <c:v>22-VI.</c:v>
                </c:pt>
                <c:pt idx="181">
                  <c:v>23-VI.</c:v>
                </c:pt>
                <c:pt idx="182">
                  <c:v>24-VI.</c:v>
                </c:pt>
                <c:pt idx="183">
                  <c:v>25-VI.</c:v>
                </c:pt>
                <c:pt idx="184">
                  <c:v>26-VI.</c:v>
                </c:pt>
                <c:pt idx="185">
                  <c:v>27-VI.</c:v>
                </c:pt>
                <c:pt idx="186">
                  <c:v>28-VI.</c:v>
                </c:pt>
                <c:pt idx="187">
                  <c:v>29-VI.</c:v>
                </c:pt>
                <c:pt idx="188">
                  <c:v>30-VI.</c:v>
                </c:pt>
                <c:pt idx="189">
                  <c:v>1-VII.</c:v>
                </c:pt>
                <c:pt idx="190">
                  <c:v>2-VII.</c:v>
                </c:pt>
                <c:pt idx="191">
                  <c:v>3-VII.</c:v>
                </c:pt>
                <c:pt idx="192">
                  <c:v>4-VII.</c:v>
                </c:pt>
                <c:pt idx="193">
                  <c:v>5-VII.</c:v>
                </c:pt>
                <c:pt idx="194">
                  <c:v>6-VII.</c:v>
                </c:pt>
                <c:pt idx="195">
                  <c:v>7-VII.</c:v>
                </c:pt>
                <c:pt idx="196">
                  <c:v>8-VII.</c:v>
                </c:pt>
                <c:pt idx="197">
                  <c:v>9-VII.</c:v>
                </c:pt>
                <c:pt idx="198">
                  <c:v>10-VII.</c:v>
                </c:pt>
                <c:pt idx="199">
                  <c:v>11-VII.</c:v>
                </c:pt>
                <c:pt idx="200">
                  <c:v>12-VII.</c:v>
                </c:pt>
                <c:pt idx="201">
                  <c:v>13-VII.</c:v>
                </c:pt>
                <c:pt idx="202">
                  <c:v>14-VII.</c:v>
                </c:pt>
                <c:pt idx="203">
                  <c:v>15-VII.</c:v>
                </c:pt>
                <c:pt idx="204">
                  <c:v>16-VII.</c:v>
                </c:pt>
                <c:pt idx="205">
                  <c:v>17-VII.</c:v>
                </c:pt>
                <c:pt idx="206">
                  <c:v>18-VII.</c:v>
                </c:pt>
                <c:pt idx="207">
                  <c:v>19-VII.</c:v>
                </c:pt>
                <c:pt idx="208">
                  <c:v>20-VII.</c:v>
                </c:pt>
                <c:pt idx="209">
                  <c:v>21-VII.</c:v>
                </c:pt>
                <c:pt idx="210">
                  <c:v>22-VII.</c:v>
                </c:pt>
                <c:pt idx="211">
                  <c:v>23-VII.</c:v>
                </c:pt>
                <c:pt idx="212">
                  <c:v>24-VII.</c:v>
                </c:pt>
                <c:pt idx="213">
                  <c:v>25-VII.</c:v>
                </c:pt>
                <c:pt idx="214">
                  <c:v>26-VII.</c:v>
                </c:pt>
                <c:pt idx="215">
                  <c:v>27-VII.</c:v>
                </c:pt>
                <c:pt idx="216">
                  <c:v>28-VII.</c:v>
                </c:pt>
                <c:pt idx="217">
                  <c:v>29-VII.</c:v>
                </c:pt>
                <c:pt idx="218">
                  <c:v>30-VII.</c:v>
                </c:pt>
                <c:pt idx="219">
                  <c:v>31-VII.</c:v>
                </c:pt>
                <c:pt idx="220">
                  <c:v>1-VIII.</c:v>
                </c:pt>
                <c:pt idx="221">
                  <c:v>2-VIII.</c:v>
                </c:pt>
                <c:pt idx="222">
                  <c:v>3-VIII.</c:v>
                </c:pt>
                <c:pt idx="223">
                  <c:v>4-VIII.</c:v>
                </c:pt>
                <c:pt idx="224">
                  <c:v>5-VIII.</c:v>
                </c:pt>
                <c:pt idx="225">
                  <c:v>6-VIII.</c:v>
                </c:pt>
                <c:pt idx="226">
                  <c:v>7-VIII.</c:v>
                </c:pt>
                <c:pt idx="227">
                  <c:v>8-VIII.</c:v>
                </c:pt>
                <c:pt idx="228">
                  <c:v>9-VIII.</c:v>
                </c:pt>
                <c:pt idx="229">
                  <c:v>10-VIII.</c:v>
                </c:pt>
                <c:pt idx="230">
                  <c:v>11-VIII.</c:v>
                </c:pt>
                <c:pt idx="231">
                  <c:v>12-VIII.</c:v>
                </c:pt>
                <c:pt idx="232">
                  <c:v>13-VIII.</c:v>
                </c:pt>
                <c:pt idx="233">
                  <c:v>14-VIII.</c:v>
                </c:pt>
                <c:pt idx="234">
                  <c:v>15-VIII.</c:v>
                </c:pt>
                <c:pt idx="235">
                  <c:v>16-VIII.</c:v>
                </c:pt>
                <c:pt idx="236">
                  <c:v>17-VIII.</c:v>
                </c:pt>
                <c:pt idx="237">
                  <c:v>18-VIII.</c:v>
                </c:pt>
                <c:pt idx="238">
                  <c:v>19-VIII.</c:v>
                </c:pt>
                <c:pt idx="239">
                  <c:v>20-VIII.</c:v>
                </c:pt>
                <c:pt idx="240">
                  <c:v>21-VIII.</c:v>
                </c:pt>
                <c:pt idx="241">
                  <c:v>22-VIII.</c:v>
                </c:pt>
                <c:pt idx="242">
                  <c:v>23-VIII.</c:v>
                </c:pt>
                <c:pt idx="243">
                  <c:v>24-VIII.</c:v>
                </c:pt>
                <c:pt idx="244">
                  <c:v>25-VIII.</c:v>
                </c:pt>
                <c:pt idx="245">
                  <c:v>26-VIII.</c:v>
                </c:pt>
                <c:pt idx="246">
                  <c:v>27-VIII.</c:v>
                </c:pt>
                <c:pt idx="247">
                  <c:v>28-VIII.</c:v>
                </c:pt>
                <c:pt idx="248">
                  <c:v>29-VIII.</c:v>
                </c:pt>
                <c:pt idx="249">
                  <c:v>30-VIII.</c:v>
                </c:pt>
                <c:pt idx="250">
                  <c:v>31-VIII.</c:v>
                </c:pt>
                <c:pt idx="251">
                  <c:v>1-IX.</c:v>
                </c:pt>
                <c:pt idx="252">
                  <c:v>2-IX.</c:v>
                </c:pt>
                <c:pt idx="253">
                  <c:v>3-IX.</c:v>
                </c:pt>
                <c:pt idx="254">
                  <c:v>4-IX.</c:v>
                </c:pt>
                <c:pt idx="255">
                  <c:v>5-IX.</c:v>
                </c:pt>
                <c:pt idx="256">
                  <c:v>6-IX.</c:v>
                </c:pt>
                <c:pt idx="257">
                  <c:v>7-IX.</c:v>
                </c:pt>
                <c:pt idx="258">
                  <c:v>8-IX.</c:v>
                </c:pt>
                <c:pt idx="259">
                  <c:v>9-IX.</c:v>
                </c:pt>
                <c:pt idx="260">
                  <c:v>10-IX.</c:v>
                </c:pt>
                <c:pt idx="261">
                  <c:v>11-IX.</c:v>
                </c:pt>
                <c:pt idx="262">
                  <c:v>12-IX.</c:v>
                </c:pt>
                <c:pt idx="263">
                  <c:v>13-IX.</c:v>
                </c:pt>
                <c:pt idx="264">
                  <c:v>14-IX.</c:v>
                </c:pt>
                <c:pt idx="265">
                  <c:v>15-IX.</c:v>
                </c:pt>
                <c:pt idx="266">
                  <c:v>16-IX.</c:v>
                </c:pt>
                <c:pt idx="267">
                  <c:v>17-IX.</c:v>
                </c:pt>
                <c:pt idx="268">
                  <c:v>18-IX.</c:v>
                </c:pt>
                <c:pt idx="269">
                  <c:v>19-IX.</c:v>
                </c:pt>
                <c:pt idx="270">
                  <c:v>20-IX.</c:v>
                </c:pt>
                <c:pt idx="271">
                  <c:v>21-IX.</c:v>
                </c:pt>
                <c:pt idx="272">
                  <c:v>22-IX.</c:v>
                </c:pt>
                <c:pt idx="273">
                  <c:v>23-IX.</c:v>
                </c:pt>
                <c:pt idx="274">
                  <c:v>24-IX.</c:v>
                </c:pt>
                <c:pt idx="275">
                  <c:v>25-IX.</c:v>
                </c:pt>
                <c:pt idx="276">
                  <c:v>26-IX.</c:v>
                </c:pt>
                <c:pt idx="277">
                  <c:v>27-IX.</c:v>
                </c:pt>
                <c:pt idx="278">
                  <c:v>28-IX.</c:v>
                </c:pt>
                <c:pt idx="279">
                  <c:v>29-IX.</c:v>
                </c:pt>
                <c:pt idx="280">
                  <c:v>30-IX.</c:v>
                </c:pt>
                <c:pt idx="281">
                  <c:v>1-X.</c:v>
                </c:pt>
                <c:pt idx="282">
                  <c:v>2-X.</c:v>
                </c:pt>
                <c:pt idx="283">
                  <c:v>3-X.</c:v>
                </c:pt>
                <c:pt idx="284">
                  <c:v>4-X.</c:v>
                </c:pt>
                <c:pt idx="285">
                  <c:v>5-X.</c:v>
                </c:pt>
                <c:pt idx="286">
                  <c:v>6-X.</c:v>
                </c:pt>
                <c:pt idx="287">
                  <c:v>7-X.</c:v>
                </c:pt>
                <c:pt idx="288">
                  <c:v>8-X.</c:v>
                </c:pt>
                <c:pt idx="289">
                  <c:v>9-X.</c:v>
                </c:pt>
                <c:pt idx="290">
                  <c:v>10-X.</c:v>
                </c:pt>
                <c:pt idx="291">
                  <c:v>11-X.</c:v>
                </c:pt>
                <c:pt idx="292">
                  <c:v>12-X.</c:v>
                </c:pt>
                <c:pt idx="293">
                  <c:v>13-X.</c:v>
                </c:pt>
                <c:pt idx="294">
                  <c:v>14-X.</c:v>
                </c:pt>
                <c:pt idx="295">
                  <c:v>15-X.</c:v>
                </c:pt>
                <c:pt idx="296">
                  <c:v>16-X.</c:v>
                </c:pt>
                <c:pt idx="297">
                  <c:v>17-X.</c:v>
                </c:pt>
                <c:pt idx="298">
                  <c:v>18-X.</c:v>
                </c:pt>
                <c:pt idx="299">
                  <c:v>19-X.</c:v>
                </c:pt>
                <c:pt idx="300">
                  <c:v>20-X.</c:v>
                </c:pt>
                <c:pt idx="301">
                  <c:v>21-X.</c:v>
                </c:pt>
                <c:pt idx="302">
                  <c:v>22-X.</c:v>
                </c:pt>
                <c:pt idx="303">
                  <c:v>23-X.</c:v>
                </c:pt>
                <c:pt idx="304">
                  <c:v>24-X.</c:v>
                </c:pt>
                <c:pt idx="305">
                  <c:v>25-X.</c:v>
                </c:pt>
                <c:pt idx="306">
                  <c:v>26-X.</c:v>
                </c:pt>
                <c:pt idx="307">
                  <c:v>27-X.</c:v>
                </c:pt>
                <c:pt idx="308">
                  <c:v>28-X.</c:v>
                </c:pt>
                <c:pt idx="309">
                  <c:v>29-X.</c:v>
                </c:pt>
                <c:pt idx="310">
                  <c:v>30-X.</c:v>
                </c:pt>
                <c:pt idx="311">
                  <c:v>31-X.</c:v>
                </c:pt>
                <c:pt idx="312">
                  <c:v>1-XI.</c:v>
                </c:pt>
                <c:pt idx="313">
                  <c:v>2-XI.</c:v>
                </c:pt>
                <c:pt idx="314">
                  <c:v>3-XI.</c:v>
                </c:pt>
                <c:pt idx="315">
                  <c:v>4-XI.</c:v>
                </c:pt>
                <c:pt idx="316">
                  <c:v>5-XI.</c:v>
                </c:pt>
                <c:pt idx="317">
                  <c:v>6-XI.</c:v>
                </c:pt>
                <c:pt idx="318">
                  <c:v>7-XI.</c:v>
                </c:pt>
                <c:pt idx="319">
                  <c:v>8-XI.</c:v>
                </c:pt>
                <c:pt idx="320">
                  <c:v>9-XI.</c:v>
                </c:pt>
                <c:pt idx="321">
                  <c:v>10-XI.</c:v>
                </c:pt>
                <c:pt idx="322">
                  <c:v>11-XI.</c:v>
                </c:pt>
                <c:pt idx="323">
                  <c:v>12-XI.</c:v>
                </c:pt>
                <c:pt idx="324">
                  <c:v>13-XI.</c:v>
                </c:pt>
                <c:pt idx="325">
                  <c:v>14-XI.</c:v>
                </c:pt>
                <c:pt idx="326">
                  <c:v>15-XI.</c:v>
                </c:pt>
                <c:pt idx="327">
                  <c:v>16-XI.</c:v>
                </c:pt>
                <c:pt idx="328">
                  <c:v>17-XI.</c:v>
                </c:pt>
                <c:pt idx="329">
                  <c:v>18-XI.</c:v>
                </c:pt>
                <c:pt idx="330">
                  <c:v>19-XI.</c:v>
                </c:pt>
                <c:pt idx="331">
                  <c:v>20-XI.</c:v>
                </c:pt>
                <c:pt idx="332">
                  <c:v>21-XI.</c:v>
                </c:pt>
                <c:pt idx="333">
                  <c:v>22-XI.</c:v>
                </c:pt>
                <c:pt idx="334">
                  <c:v>23-XI.</c:v>
                </c:pt>
                <c:pt idx="335">
                  <c:v>24-XI.</c:v>
                </c:pt>
                <c:pt idx="336">
                  <c:v>25-XI.</c:v>
                </c:pt>
                <c:pt idx="337">
                  <c:v>26-XI.</c:v>
                </c:pt>
                <c:pt idx="338">
                  <c:v>27-XI.</c:v>
                </c:pt>
                <c:pt idx="339">
                  <c:v>28-XI.</c:v>
                </c:pt>
                <c:pt idx="340">
                  <c:v>29-XI.</c:v>
                </c:pt>
                <c:pt idx="341">
                  <c:v>30-XI.</c:v>
                </c:pt>
                <c:pt idx="342">
                  <c:v>1-XII.</c:v>
                </c:pt>
                <c:pt idx="343">
                  <c:v>2-XII.</c:v>
                </c:pt>
              </c:strCache>
            </c:strRef>
          </c:cat>
          <c:val>
            <c:numRef>
              <c:f>List1!$F$4:$MK$4</c:f>
              <c:numCache>
                <c:formatCode>General</c:formatCode>
                <c:ptCount val="344"/>
                <c:pt idx="3">
                  <c:v>194</c:v>
                </c:pt>
                <c:pt idx="4">
                  <c:v>643</c:v>
                </c:pt>
                <c:pt idx="5">
                  <c:v>1251</c:v>
                </c:pt>
                <c:pt idx="6">
                  <c:v>1874</c:v>
                </c:pt>
                <c:pt idx="7">
                  <c:v>2047</c:v>
                </c:pt>
                <c:pt idx="8">
                  <c:v>2076</c:v>
                </c:pt>
                <c:pt idx="9">
                  <c:v>2364</c:v>
                </c:pt>
                <c:pt idx="10">
                  <c:v>2575</c:v>
                </c:pt>
                <c:pt idx="11">
                  <c:v>3201</c:v>
                </c:pt>
                <c:pt idx="12">
                  <c:v>4165</c:v>
                </c:pt>
                <c:pt idx="13">
                  <c:v>5583</c:v>
                </c:pt>
                <c:pt idx="14">
                  <c:v>7180</c:v>
                </c:pt>
                <c:pt idx="15">
                  <c:v>9024</c:v>
                </c:pt>
                <c:pt idx="16">
                  <c:v>9331</c:v>
                </c:pt>
                <c:pt idx="17">
                  <c:v>9638</c:v>
                </c:pt>
                <c:pt idx="18">
                  <c:v>11505</c:v>
                </c:pt>
                <c:pt idx="19">
                  <c:v>13790</c:v>
                </c:pt>
                <c:pt idx="20">
                  <c:v>15829</c:v>
                </c:pt>
                <c:pt idx="21">
                  <c:v>17712</c:v>
                </c:pt>
                <c:pt idx="22">
                  <c:v>19322</c:v>
                </c:pt>
                <c:pt idx="23">
                  <c:v>19541</c:v>
                </c:pt>
                <c:pt idx="24">
                  <c:v>19637</c:v>
                </c:pt>
                <c:pt idx="25">
                  <c:v>20811</c:v>
                </c:pt>
                <c:pt idx="26">
                  <c:v>21749</c:v>
                </c:pt>
                <c:pt idx="27">
                  <c:v>22690</c:v>
                </c:pt>
                <c:pt idx="28">
                  <c:v>23548</c:v>
                </c:pt>
                <c:pt idx="29">
                  <c:v>24298</c:v>
                </c:pt>
                <c:pt idx="30">
                  <c:v>24362</c:v>
                </c:pt>
                <c:pt idx="31">
                  <c:v>24406</c:v>
                </c:pt>
                <c:pt idx="32">
                  <c:v>24857</c:v>
                </c:pt>
                <c:pt idx="33">
                  <c:v>25311</c:v>
                </c:pt>
                <c:pt idx="34">
                  <c:v>25707</c:v>
                </c:pt>
                <c:pt idx="35">
                  <c:v>26108</c:v>
                </c:pt>
                <c:pt idx="36">
                  <c:v>26493</c:v>
                </c:pt>
                <c:pt idx="37">
                  <c:v>26517</c:v>
                </c:pt>
                <c:pt idx="38">
                  <c:v>26549</c:v>
                </c:pt>
                <c:pt idx="39">
                  <c:v>26840</c:v>
                </c:pt>
                <c:pt idx="40">
                  <c:v>27129</c:v>
                </c:pt>
                <c:pt idx="41">
                  <c:v>27362</c:v>
                </c:pt>
                <c:pt idx="42">
                  <c:v>27544</c:v>
                </c:pt>
                <c:pt idx="43">
                  <c:v>27779</c:v>
                </c:pt>
                <c:pt idx="44">
                  <c:v>27788</c:v>
                </c:pt>
                <c:pt idx="45">
                  <c:v>27806</c:v>
                </c:pt>
                <c:pt idx="46">
                  <c:v>28042</c:v>
                </c:pt>
                <c:pt idx="47">
                  <c:v>28237</c:v>
                </c:pt>
                <c:pt idx="48">
                  <c:v>28504</c:v>
                </c:pt>
                <c:pt idx="49">
                  <c:v>28853</c:v>
                </c:pt>
                <c:pt idx="50">
                  <c:v>29244</c:v>
                </c:pt>
                <c:pt idx="51">
                  <c:v>29354</c:v>
                </c:pt>
                <c:pt idx="52">
                  <c:v>29420</c:v>
                </c:pt>
                <c:pt idx="53">
                  <c:v>29835</c:v>
                </c:pt>
                <c:pt idx="54">
                  <c:v>30342</c:v>
                </c:pt>
                <c:pt idx="55">
                  <c:v>30887</c:v>
                </c:pt>
                <c:pt idx="56">
                  <c:v>31444</c:v>
                </c:pt>
                <c:pt idx="57">
                  <c:v>32097</c:v>
                </c:pt>
                <c:pt idx="58">
                  <c:v>32323</c:v>
                </c:pt>
                <c:pt idx="59">
                  <c:v>32380</c:v>
                </c:pt>
                <c:pt idx="60">
                  <c:v>33065</c:v>
                </c:pt>
                <c:pt idx="61">
                  <c:v>34061</c:v>
                </c:pt>
                <c:pt idx="62">
                  <c:v>35139</c:v>
                </c:pt>
                <c:pt idx="63">
                  <c:v>36289</c:v>
                </c:pt>
                <c:pt idx="64">
                  <c:v>37365</c:v>
                </c:pt>
                <c:pt idx="65">
                  <c:v>37524</c:v>
                </c:pt>
                <c:pt idx="66">
                  <c:v>37653</c:v>
                </c:pt>
                <c:pt idx="67">
                  <c:v>38765</c:v>
                </c:pt>
                <c:pt idx="68">
                  <c:v>39977</c:v>
                </c:pt>
                <c:pt idx="69">
                  <c:v>41089</c:v>
                </c:pt>
                <c:pt idx="70">
                  <c:v>42090</c:v>
                </c:pt>
                <c:pt idx="71">
                  <c:v>43272</c:v>
                </c:pt>
                <c:pt idx="72">
                  <c:v>43560</c:v>
                </c:pt>
                <c:pt idx="73">
                  <c:v>43775</c:v>
                </c:pt>
                <c:pt idx="74">
                  <c:v>44618</c:v>
                </c:pt>
                <c:pt idx="75">
                  <c:v>45439</c:v>
                </c:pt>
                <c:pt idx="76">
                  <c:v>46335</c:v>
                </c:pt>
                <c:pt idx="77">
                  <c:v>47531</c:v>
                </c:pt>
                <c:pt idx="78">
                  <c:v>48640</c:v>
                </c:pt>
                <c:pt idx="79">
                  <c:v>48924</c:v>
                </c:pt>
                <c:pt idx="80">
                  <c:v>49164</c:v>
                </c:pt>
                <c:pt idx="81">
                  <c:v>49791</c:v>
                </c:pt>
                <c:pt idx="82">
                  <c:v>50719</c:v>
                </c:pt>
                <c:pt idx="83">
                  <c:v>51657</c:v>
                </c:pt>
                <c:pt idx="84">
                  <c:v>52436</c:v>
                </c:pt>
                <c:pt idx="85">
                  <c:v>53391</c:v>
                </c:pt>
                <c:pt idx="86">
                  <c:v>53791</c:v>
                </c:pt>
                <c:pt idx="87">
                  <c:v>53997</c:v>
                </c:pt>
                <c:pt idx="88">
                  <c:v>54446</c:v>
                </c:pt>
                <c:pt idx="89">
                  <c:v>54939</c:v>
                </c:pt>
                <c:pt idx="90">
                  <c:v>55355</c:v>
                </c:pt>
                <c:pt idx="91">
                  <c:v>55903</c:v>
                </c:pt>
                <c:pt idx="92">
                  <c:v>56480</c:v>
                </c:pt>
                <c:pt idx="93">
                  <c:v>56640</c:v>
                </c:pt>
                <c:pt idx="94">
                  <c:v>56775</c:v>
                </c:pt>
                <c:pt idx="95">
                  <c:v>57085</c:v>
                </c:pt>
                <c:pt idx="96">
                  <c:v>57507</c:v>
                </c:pt>
                <c:pt idx="97">
                  <c:v>58004</c:v>
                </c:pt>
                <c:pt idx="98">
                  <c:v>58435</c:v>
                </c:pt>
                <c:pt idx="99">
                  <c:v>58522</c:v>
                </c:pt>
                <c:pt idx="100">
                  <c:v>58580</c:v>
                </c:pt>
                <c:pt idx="101">
                  <c:v>58618</c:v>
                </c:pt>
                <c:pt idx="102">
                  <c:v>58647</c:v>
                </c:pt>
                <c:pt idx="103">
                  <c:v>58877</c:v>
                </c:pt>
                <c:pt idx="104">
                  <c:v>59139</c:v>
                </c:pt>
                <c:pt idx="105">
                  <c:v>59675</c:v>
                </c:pt>
                <c:pt idx="106">
                  <c:v>60173</c:v>
                </c:pt>
                <c:pt idx="107">
                  <c:v>60346</c:v>
                </c:pt>
                <c:pt idx="108">
                  <c:v>60461</c:v>
                </c:pt>
                <c:pt idx="109">
                  <c:v>60834</c:v>
                </c:pt>
                <c:pt idx="110">
                  <c:v>61147</c:v>
                </c:pt>
                <c:pt idx="111">
                  <c:v>61532</c:v>
                </c:pt>
                <c:pt idx="112">
                  <c:v>62084</c:v>
                </c:pt>
                <c:pt idx="113">
                  <c:v>62730</c:v>
                </c:pt>
                <c:pt idx="114">
                  <c:v>62907</c:v>
                </c:pt>
                <c:pt idx="115">
                  <c:v>63101</c:v>
                </c:pt>
                <c:pt idx="116">
                  <c:v>63556</c:v>
                </c:pt>
                <c:pt idx="117">
                  <c:v>63981</c:v>
                </c:pt>
                <c:pt idx="118">
                  <c:v>64479</c:v>
                </c:pt>
                <c:pt idx="119">
                  <c:v>65079</c:v>
                </c:pt>
                <c:pt idx="120">
                  <c:v>65728</c:v>
                </c:pt>
                <c:pt idx="121">
                  <c:v>65910</c:v>
                </c:pt>
                <c:pt idx="122">
                  <c:v>66061</c:v>
                </c:pt>
                <c:pt idx="123">
                  <c:v>66544</c:v>
                </c:pt>
                <c:pt idx="124">
                  <c:v>66969</c:v>
                </c:pt>
                <c:pt idx="125">
                  <c:v>67535</c:v>
                </c:pt>
                <c:pt idx="126">
                  <c:v>68119</c:v>
                </c:pt>
                <c:pt idx="127">
                  <c:v>68735</c:v>
                </c:pt>
                <c:pt idx="128">
                  <c:v>68889</c:v>
                </c:pt>
                <c:pt idx="129">
                  <c:v>69045</c:v>
                </c:pt>
                <c:pt idx="130">
                  <c:v>69498</c:v>
                </c:pt>
                <c:pt idx="131">
                  <c:v>69953</c:v>
                </c:pt>
                <c:pt idx="132">
                  <c:v>70477</c:v>
                </c:pt>
                <c:pt idx="133">
                  <c:v>71008</c:v>
                </c:pt>
                <c:pt idx="134">
                  <c:v>71572</c:v>
                </c:pt>
                <c:pt idx="135">
                  <c:v>71795</c:v>
                </c:pt>
                <c:pt idx="136">
                  <c:v>71966</c:v>
                </c:pt>
                <c:pt idx="137">
                  <c:v>72444</c:v>
                </c:pt>
                <c:pt idx="138">
                  <c:v>72875</c:v>
                </c:pt>
                <c:pt idx="139">
                  <c:v>73351</c:v>
                </c:pt>
                <c:pt idx="140">
                  <c:v>73897</c:v>
                </c:pt>
                <c:pt idx="141">
                  <c:v>74406</c:v>
                </c:pt>
                <c:pt idx="142">
                  <c:v>74617</c:v>
                </c:pt>
                <c:pt idx="143">
                  <c:v>74767</c:v>
                </c:pt>
                <c:pt idx="144">
                  <c:v>75155</c:v>
                </c:pt>
                <c:pt idx="145">
                  <c:v>75569</c:v>
                </c:pt>
                <c:pt idx="146">
                  <c:v>76030</c:v>
                </c:pt>
                <c:pt idx="147">
                  <c:v>76471</c:v>
                </c:pt>
                <c:pt idx="148">
                  <c:v>76923</c:v>
                </c:pt>
                <c:pt idx="149">
                  <c:v>77099</c:v>
                </c:pt>
                <c:pt idx="150">
                  <c:v>77214</c:v>
                </c:pt>
                <c:pt idx="151">
                  <c:v>77505</c:v>
                </c:pt>
                <c:pt idx="152">
                  <c:v>77833</c:v>
                </c:pt>
                <c:pt idx="153">
                  <c:v>78245</c:v>
                </c:pt>
                <c:pt idx="154">
                  <c:v>78620</c:v>
                </c:pt>
                <c:pt idx="155">
                  <c:v>79057</c:v>
                </c:pt>
                <c:pt idx="156">
                  <c:v>79242</c:v>
                </c:pt>
                <c:pt idx="157">
                  <c:v>79407</c:v>
                </c:pt>
                <c:pt idx="158">
                  <c:v>79747</c:v>
                </c:pt>
                <c:pt idx="159">
                  <c:v>80120</c:v>
                </c:pt>
                <c:pt idx="160">
                  <c:v>80573</c:v>
                </c:pt>
                <c:pt idx="161">
                  <c:v>80989</c:v>
                </c:pt>
                <c:pt idx="162">
                  <c:v>81451</c:v>
                </c:pt>
                <c:pt idx="163">
                  <c:v>81709</c:v>
                </c:pt>
                <c:pt idx="164">
                  <c:v>81949</c:v>
                </c:pt>
                <c:pt idx="165">
                  <c:v>82425</c:v>
                </c:pt>
                <c:pt idx="166">
                  <c:v>82970</c:v>
                </c:pt>
                <c:pt idx="167">
                  <c:v>83453</c:v>
                </c:pt>
                <c:pt idx="168">
                  <c:v>83886</c:v>
                </c:pt>
                <c:pt idx="169">
                  <c:v>84346</c:v>
                </c:pt>
                <c:pt idx="170">
                  <c:v>84634</c:v>
                </c:pt>
                <c:pt idx="171">
                  <c:v>84860</c:v>
                </c:pt>
                <c:pt idx="172">
                  <c:v>85216</c:v>
                </c:pt>
                <c:pt idx="173">
                  <c:v>85644</c:v>
                </c:pt>
                <c:pt idx="174">
                  <c:v>86033</c:v>
                </c:pt>
                <c:pt idx="175">
                  <c:v>86398</c:v>
                </c:pt>
                <c:pt idx="176">
                  <c:v>86775</c:v>
                </c:pt>
                <c:pt idx="177">
                  <c:v>86962</c:v>
                </c:pt>
                <c:pt idx="178">
                  <c:v>87104</c:v>
                </c:pt>
                <c:pt idx="179">
                  <c:v>87396</c:v>
                </c:pt>
                <c:pt idx="180">
                  <c:v>87713</c:v>
                </c:pt>
                <c:pt idx="181">
                  <c:v>87968</c:v>
                </c:pt>
                <c:pt idx="182">
                  <c:v>88258</c:v>
                </c:pt>
                <c:pt idx="183">
                  <c:v>88512</c:v>
                </c:pt>
                <c:pt idx="184">
                  <c:v>88663</c:v>
                </c:pt>
                <c:pt idx="185">
                  <c:v>88772</c:v>
                </c:pt>
                <c:pt idx="186">
                  <c:v>89043</c:v>
                </c:pt>
                <c:pt idx="187">
                  <c:v>89290</c:v>
                </c:pt>
                <c:pt idx="188">
                  <c:v>89532</c:v>
                </c:pt>
                <c:pt idx="189">
                  <c:v>89709</c:v>
                </c:pt>
                <c:pt idx="190">
                  <c:v>89942</c:v>
                </c:pt>
                <c:pt idx="191">
                  <c:v>89995</c:v>
                </c:pt>
                <c:pt idx="192">
                  <c:v>90054</c:v>
                </c:pt>
                <c:pt idx="193">
                  <c:v>90112</c:v>
                </c:pt>
                <c:pt idx="194">
                  <c:v>90169</c:v>
                </c:pt>
                <c:pt idx="195">
                  <c:v>90378</c:v>
                </c:pt>
                <c:pt idx="196">
                  <c:v>90592</c:v>
                </c:pt>
                <c:pt idx="197">
                  <c:v>90818</c:v>
                </c:pt>
                <c:pt idx="198">
                  <c:v>90910</c:v>
                </c:pt>
                <c:pt idx="199">
                  <c:v>90968</c:v>
                </c:pt>
                <c:pt idx="200">
                  <c:v>91204</c:v>
                </c:pt>
                <c:pt idx="201">
                  <c:v>91422</c:v>
                </c:pt>
                <c:pt idx="202">
                  <c:v>91657</c:v>
                </c:pt>
                <c:pt idx="203">
                  <c:v>91903</c:v>
                </c:pt>
                <c:pt idx="204">
                  <c:v>92152</c:v>
                </c:pt>
                <c:pt idx="205">
                  <c:v>92261</c:v>
                </c:pt>
                <c:pt idx="206">
                  <c:v>92330</c:v>
                </c:pt>
                <c:pt idx="207">
                  <c:v>92531</c:v>
                </c:pt>
                <c:pt idx="208">
                  <c:v>92691</c:v>
                </c:pt>
                <c:pt idx="209">
                  <c:v>92911</c:v>
                </c:pt>
                <c:pt idx="210">
                  <c:v>93092</c:v>
                </c:pt>
                <c:pt idx="211">
                  <c:v>93304</c:v>
                </c:pt>
                <c:pt idx="212">
                  <c:v>93366</c:v>
                </c:pt>
                <c:pt idx="213">
                  <c:v>93420</c:v>
                </c:pt>
                <c:pt idx="214">
                  <c:v>93600</c:v>
                </c:pt>
                <c:pt idx="215">
                  <c:v>93800</c:v>
                </c:pt>
                <c:pt idx="216">
                  <c:v>93975</c:v>
                </c:pt>
                <c:pt idx="217">
                  <c:v>94134</c:v>
                </c:pt>
                <c:pt idx="218">
                  <c:v>94343</c:v>
                </c:pt>
                <c:pt idx="219">
                  <c:v>94409</c:v>
                </c:pt>
                <c:pt idx="220">
                  <c:v>94458</c:v>
                </c:pt>
                <c:pt idx="221">
                  <c:v>94604</c:v>
                </c:pt>
                <c:pt idx="222">
                  <c:v>94734</c:v>
                </c:pt>
                <c:pt idx="223">
                  <c:v>94878</c:v>
                </c:pt>
                <c:pt idx="224">
                  <c:v>95004</c:v>
                </c:pt>
                <c:pt idx="225">
                  <c:v>95133</c:v>
                </c:pt>
                <c:pt idx="226">
                  <c:v>95171</c:v>
                </c:pt>
                <c:pt idx="227">
                  <c:v>95205</c:v>
                </c:pt>
                <c:pt idx="228">
                  <c:v>95308</c:v>
                </c:pt>
                <c:pt idx="229">
                  <c:v>95423</c:v>
                </c:pt>
                <c:pt idx="230">
                  <c:v>95496</c:v>
                </c:pt>
                <c:pt idx="231">
                  <c:v>95600</c:v>
                </c:pt>
                <c:pt idx="232">
                  <c:v>95704</c:v>
                </c:pt>
                <c:pt idx="233">
                  <c:v>95730</c:v>
                </c:pt>
                <c:pt idx="234">
                  <c:v>95749</c:v>
                </c:pt>
                <c:pt idx="235">
                  <c:v>95830</c:v>
                </c:pt>
                <c:pt idx="236">
                  <c:v>95908</c:v>
                </c:pt>
                <c:pt idx="237">
                  <c:v>95986</c:v>
                </c:pt>
                <c:pt idx="238">
                  <c:v>96058</c:v>
                </c:pt>
                <c:pt idx="239">
                  <c:v>96155</c:v>
                </c:pt>
                <c:pt idx="240">
                  <c:v>96173</c:v>
                </c:pt>
                <c:pt idx="241">
                  <c:v>96192</c:v>
                </c:pt>
                <c:pt idx="242">
                  <c:v>96285</c:v>
                </c:pt>
                <c:pt idx="243">
                  <c:v>96361</c:v>
                </c:pt>
                <c:pt idx="244">
                  <c:v>96436</c:v>
                </c:pt>
                <c:pt idx="245">
                  <c:v>96499</c:v>
                </c:pt>
                <c:pt idx="246">
                  <c:v>96600</c:v>
                </c:pt>
                <c:pt idx="247">
                  <c:v>96626</c:v>
                </c:pt>
                <c:pt idx="248">
                  <c:v>96636</c:v>
                </c:pt>
                <c:pt idx="249">
                  <c:v>96713</c:v>
                </c:pt>
                <c:pt idx="250">
                  <c:v>96791</c:v>
                </c:pt>
                <c:pt idx="251">
                  <c:v>96837</c:v>
                </c:pt>
                <c:pt idx="252">
                  <c:v>96910</c:v>
                </c:pt>
                <c:pt idx="253">
                  <c:v>97004</c:v>
                </c:pt>
                <c:pt idx="254">
                  <c:v>97019</c:v>
                </c:pt>
                <c:pt idx="255">
                  <c:v>97037</c:v>
                </c:pt>
                <c:pt idx="256">
                  <c:v>97101</c:v>
                </c:pt>
                <c:pt idx="257">
                  <c:v>97136</c:v>
                </c:pt>
                <c:pt idx="258">
                  <c:v>97189</c:v>
                </c:pt>
                <c:pt idx="259">
                  <c:v>97248</c:v>
                </c:pt>
                <c:pt idx="260">
                  <c:v>97317</c:v>
                </c:pt>
                <c:pt idx="261">
                  <c:v>97332</c:v>
                </c:pt>
                <c:pt idx="262">
                  <c:v>97345</c:v>
                </c:pt>
                <c:pt idx="263">
                  <c:v>97393</c:v>
                </c:pt>
                <c:pt idx="264">
                  <c:v>97444</c:v>
                </c:pt>
                <c:pt idx="265">
                  <c:v>97488</c:v>
                </c:pt>
                <c:pt idx="266">
                  <c:v>97534</c:v>
                </c:pt>
                <c:pt idx="267">
                  <c:v>97606</c:v>
                </c:pt>
                <c:pt idx="268">
                  <c:v>97625</c:v>
                </c:pt>
                <c:pt idx="269">
                  <c:v>97631</c:v>
                </c:pt>
                <c:pt idx="270">
                  <c:v>97675</c:v>
                </c:pt>
                <c:pt idx="271">
                  <c:v>97722</c:v>
                </c:pt>
                <c:pt idx="272">
                  <c:v>97764</c:v>
                </c:pt>
                <c:pt idx="273">
                  <c:v>97820</c:v>
                </c:pt>
                <c:pt idx="274">
                  <c:v>97889</c:v>
                </c:pt>
                <c:pt idx="275">
                  <c:v>97905</c:v>
                </c:pt>
                <c:pt idx="276">
                  <c:v>97911</c:v>
                </c:pt>
                <c:pt idx="277">
                  <c:v>97953</c:v>
                </c:pt>
                <c:pt idx="278">
                  <c:v>97959</c:v>
                </c:pt>
                <c:pt idx="279">
                  <c:v>97986</c:v>
                </c:pt>
                <c:pt idx="280">
                  <c:v>98032</c:v>
                </c:pt>
                <c:pt idx="281">
                  <c:v>98070</c:v>
                </c:pt>
                <c:pt idx="282">
                  <c:v>98078</c:v>
                </c:pt>
                <c:pt idx="283">
                  <c:v>98085</c:v>
                </c:pt>
                <c:pt idx="284">
                  <c:v>98115</c:v>
                </c:pt>
                <c:pt idx="285">
                  <c:v>98143</c:v>
                </c:pt>
                <c:pt idx="286">
                  <c:v>98180</c:v>
                </c:pt>
                <c:pt idx="287">
                  <c:v>98204</c:v>
                </c:pt>
                <c:pt idx="288">
                  <c:v>98251</c:v>
                </c:pt>
                <c:pt idx="289">
                  <c:v>98260</c:v>
                </c:pt>
                <c:pt idx="290">
                  <c:v>98267</c:v>
                </c:pt>
                <c:pt idx="291">
                  <c:v>98294</c:v>
                </c:pt>
                <c:pt idx="292">
                  <c:v>98340</c:v>
                </c:pt>
                <c:pt idx="293">
                  <c:v>98375</c:v>
                </c:pt>
                <c:pt idx="294">
                  <c:v>98403</c:v>
                </c:pt>
                <c:pt idx="295">
                  <c:v>98460</c:v>
                </c:pt>
                <c:pt idx="296">
                  <c:v>98477</c:v>
                </c:pt>
                <c:pt idx="297">
                  <c:v>98488</c:v>
                </c:pt>
                <c:pt idx="298">
                  <c:v>98545</c:v>
                </c:pt>
                <c:pt idx="299">
                  <c:v>98577</c:v>
                </c:pt>
                <c:pt idx="300">
                  <c:v>98636</c:v>
                </c:pt>
                <c:pt idx="301">
                  <c:v>98736</c:v>
                </c:pt>
                <c:pt idx="302">
                  <c:v>98879</c:v>
                </c:pt>
                <c:pt idx="303">
                  <c:v>98929</c:v>
                </c:pt>
                <c:pt idx="304">
                  <c:v>98963</c:v>
                </c:pt>
                <c:pt idx="305">
                  <c:v>99079</c:v>
                </c:pt>
                <c:pt idx="306">
                  <c:v>99234</c:v>
                </c:pt>
                <c:pt idx="307">
                  <c:v>99402</c:v>
                </c:pt>
                <c:pt idx="308">
                  <c:v>99440</c:v>
                </c:pt>
                <c:pt idx="309">
                  <c:v>99620</c:v>
                </c:pt>
                <c:pt idx="310">
                  <c:v>99670</c:v>
                </c:pt>
                <c:pt idx="311">
                  <c:v>99703</c:v>
                </c:pt>
                <c:pt idx="312">
                  <c:v>99905</c:v>
                </c:pt>
                <c:pt idx="313">
                  <c:v>100078</c:v>
                </c:pt>
                <c:pt idx="314">
                  <c:v>100264</c:v>
                </c:pt>
                <c:pt idx="315">
                  <c:v>100472</c:v>
                </c:pt>
                <c:pt idx="316">
                  <c:v>100724</c:v>
                </c:pt>
                <c:pt idx="317">
                  <c:v>100797</c:v>
                </c:pt>
                <c:pt idx="318">
                  <c:v>100840</c:v>
                </c:pt>
                <c:pt idx="319">
                  <c:v>101021</c:v>
                </c:pt>
                <c:pt idx="320">
                  <c:v>101170</c:v>
                </c:pt>
                <c:pt idx="321">
                  <c:v>101334</c:v>
                </c:pt>
                <c:pt idx="322">
                  <c:v>101516</c:v>
                </c:pt>
                <c:pt idx="323">
                  <c:v>101779</c:v>
                </c:pt>
                <c:pt idx="324">
                  <c:v>101832</c:v>
                </c:pt>
                <c:pt idx="325">
                  <c:v>101871</c:v>
                </c:pt>
                <c:pt idx="326">
                  <c:v>102052</c:v>
                </c:pt>
                <c:pt idx="327">
                  <c:v>102260</c:v>
                </c:pt>
                <c:pt idx="328">
                  <c:v>102299</c:v>
                </c:pt>
                <c:pt idx="329">
                  <c:v>102539</c:v>
                </c:pt>
                <c:pt idx="330">
                  <c:v>102811</c:v>
                </c:pt>
                <c:pt idx="331">
                  <c:v>102889</c:v>
                </c:pt>
                <c:pt idx="332">
                  <c:v>102953</c:v>
                </c:pt>
                <c:pt idx="333">
                  <c:v>103132</c:v>
                </c:pt>
                <c:pt idx="334">
                  <c:v>103321</c:v>
                </c:pt>
                <c:pt idx="335">
                  <c:v>103514</c:v>
                </c:pt>
                <c:pt idx="336">
                  <c:v>103725</c:v>
                </c:pt>
                <c:pt idx="337">
                  <c:v>103943</c:v>
                </c:pt>
                <c:pt idx="338">
                  <c:v>104021</c:v>
                </c:pt>
                <c:pt idx="339">
                  <c:v>104043</c:v>
                </c:pt>
                <c:pt idx="340">
                  <c:v>104211</c:v>
                </c:pt>
                <c:pt idx="341">
                  <c:v>104350</c:v>
                </c:pt>
                <c:pt idx="342">
                  <c:v>104507</c:v>
                </c:pt>
                <c:pt idx="343">
                  <c:v>1046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9B2-46E3-85FE-A83BCF6CC085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round/>
            </a:ln>
            <a:effectLst/>
          </c:spPr>
          <c:marker>
            <c:symbol val="none"/>
          </c:marker>
          <c:cat>
            <c:strRef>
              <c:f>List1!$F$1:$MK$1</c:f>
              <c:strCache>
                <c:ptCount val="344"/>
                <c:pt idx="0">
                  <c:v>24-XII.</c:v>
                </c:pt>
                <c:pt idx="1">
                  <c:v>25-XII.</c:v>
                </c:pt>
                <c:pt idx="2">
                  <c:v>26-XII.</c:v>
                </c:pt>
                <c:pt idx="3">
                  <c:v>27-XII.</c:v>
                </c:pt>
                <c:pt idx="4">
                  <c:v>28-XII.</c:v>
                </c:pt>
                <c:pt idx="5">
                  <c:v>29-XII.</c:v>
                </c:pt>
                <c:pt idx="6">
                  <c:v>30-XII.</c:v>
                </c:pt>
                <c:pt idx="7">
                  <c:v>31-XII.</c:v>
                </c:pt>
                <c:pt idx="8">
                  <c:v>1-I.</c:v>
                </c:pt>
                <c:pt idx="9">
                  <c:v>2-I.</c:v>
                </c:pt>
                <c:pt idx="10">
                  <c:v>3-I.</c:v>
                </c:pt>
                <c:pt idx="11">
                  <c:v>4-I.</c:v>
                </c:pt>
                <c:pt idx="12">
                  <c:v>5-I.</c:v>
                </c:pt>
                <c:pt idx="13">
                  <c:v>6-I.</c:v>
                </c:pt>
                <c:pt idx="14">
                  <c:v>7-I.</c:v>
                </c:pt>
                <c:pt idx="15">
                  <c:v>8-I.</c:v>
                </c:pt>
                <c:pt idx="16">
                  <c:v>9-I.</c:v>
                </c:pt>
                <c:pt idx="17">
                  <c:v>10-I.</c:v>
                </c:pt>
                <c:pt idx="18">
                  <c:v>11-I.</c:v>
                </c:pt>
                <c:pt idx="19">
                  <c:v>12-I.</c:v>
                </c:pt>
                <c:pt idx="20">
                  <c:v>13-I.</c:v>
                </c:pt>
                <c:pt idx="21">
                  <c:v>14-I.</c:v>
                </c:pt>
                <c:pt idx="22">
                  <c:v>15-I.</c:v>
                </c:pt>
                <c:pt idx="23">
                  <c:v>16-I.</c:v>
                </c:pt>
                <c:pt idx="24">
                  <c:v>17-I.</c:v>
                </c:pt>
                <c:pt idx="25">
                  <c:v>18-I.</c:v>
                </c:pt>
                <c:pt idx="26">
                  <c:v>19-I.</c:v>
                </c:pt>
                <c:pt idx="27">
                  <c:v>20-I.</c:v>
                </c:pt>
                <c:pt idx="28">
                  <c:v>21-I.</c:v>
                </c:pt>
                <c:pt idx="29">
                  <c:v>22-I.</c:v>
                </c:pt>
                <c:pt idx="30">
                  <c:v>23-I.</c:v>
                </c:pt>
                <c:pt idx="31">
                  <c:v>24-I.</c:v>
                </c:pt>
                <c:pt idx="32">
                  <c:v>25-I.</c:v>
                </c:pt>
                <c:pt idx="33">
                  <c:v>26-I.</c:v>
                </c:pt>
                <c:pt idx="34">
                  <c:v>27-I.</c:v>
                </c:pt>
                <c:pt idx="35">
                  <c:v>28-I.</c:v>
                </c:pt>
                <c:pt idx="36">
                  <c:v>29-I.</c:v>
                </c:pt>
                <c:pt idx="37">
                  <c:v>30-I.</c:v>
                </c:pt>
                <c:pt idx="38">
                  <c:v>31-I.</c:v>
                </c:pt>
                <c:pt idx="39">
                  <c:v>1-II.</c:v>
                </c:pt>
                <c:pt idx="40">
                  <c:v>2-II.</c:v>
                </c:pt>
                <c:pt idx="41">
                  <c:v>3-II.</c:v>
                </c:pt>
                <c:pt idx="42">
                  <c:v>4-II.</c:v>
                </c:pt>
                <c:pt idx="43">
                  <c:v>5-II.</c:v>
                </c:pt>
                <c:pt idx="44">
                  <c:v>6-II.</c:v>
                </c:pt>
                <c:pt idx="45">
                  <c:v>7-II.</c:v>
                </c:pt>
                <c:pt idx="46">
                  <c:v>8-II.</c:v>
                </c:pt>
                <c:pt idx="47">
                  <c:v>9-II.</c:v>
                </c:pt>
                <c:pt idx="48">
                  <c:v>10-II.</c:v>
                </c:pt>
                <c:pt idx="49">
                  <c:v>11-II.</c:v>
                </c:pt>
                <c:pt idx="50">
                  <c:v>12-II.</c:v>
                </c:pt>
                <c:pt idx="51">
                  <c:v>13-II.</c:v>
                </c:pt>
                <c:pt idx="52">
                  <c:v>14-II.</c:v>
                </c:pt>
                <c:pt idx="53">
                  <c:v>15-II.</c:v>
                </c:pt>
                <c:pt idx="54">
                  <c:v>16-II.</c:v>
                </c:pt>
                <c:pt idx="55">
                  <c:v>17-II.</c:v>
                </c:pt>
                <c:pt idx="56">
                  <c:v>18-II.</c:v>
                </c:pt>
                <c:pt idx="57">
                  <c:v>19-II.</c:v>
                </c:pt>
                <c:pt idx="58">
                  <c:v>20-II.</c:v>
                </c:pt>
                <c:pt idx="59">
                  <c:v>21-II.</c:v>
                </c:pt>
                <c:pt idx="60">
                  <c:v>22-II.</c:v>
                </c:pt>
                <c:pt idx="61">
                  <c:v>23-II.</c:v>
                </c:pt>
                <c:pt idx="62">
                  <c:v>24-II.</c:v>
                </c:pt>
                <c:pt idx="63">
                  <c:v>25-II.</c:v>
                </c:pt>
                <c:pt idx="64">
                  <c:v>26-II.</c:v>
                </c:pt>
                <c:pt idx="65">
                  <c:v>27-II.</c:v>
                </c:pt>
                <c:pt idx="66">
                  <c:v>28-II.</c:v>
                </c:pt>
                <c:pt idx="67">
                  <c:v>1-III.</c:v>
                </c:pt>
                <c:pt idx="68">
                  <c:v>2-III.</c:v>
                </c:pt>
                <c:pt idx="69">
                  <c:v>3-III.</c:v>
                </c:pt>
                <c:pt idx="70">
                  <c:v>4-III.</c:v>
                </c:pt>
                <c:pt idx="71">
                  <c:v>5-III.</c:v>
                </c:pt>
                <c:pt idx="72">
                  <c:v>6-III.</c:v>
                </c:pt>
                <c:pt idx="73">
                  <c:v>7-III.</c:v>
                </c:pt>
                <c:pt idx="74">
                  <c:v>8-III.</c:v>
                </c:pt>
                <c:pt idx="75">
                  <c:v>9-III.</c:v>
                </c:pt>
                <c:pt idx="76">
                  <c:v>10-III.</c:v>
                </c:pt>
                <c:pt idx="77">
                  <c:v>11-III.</c:v>
                </c:pt>
                <c:pt idx="78">
                  <c:v>12-III.</c:v>
                </c:pt>
                <c:pt idx="79">
                  <c:v>13-III.</c:v>
                </c:pt>
                <c:pt idx="80">
                  <c:v>14-III.</c:v>
                </c:pt>
                <c:pt idx="81">
                  <c:v>15-III.</c:v>
                </c:pt>
                <c:pt idx="82">
                  <c:v>16-III.</c:v>
                </c:pt>
                <c:pt idx="83">
                  <c:v>17-III.</c:v>
                </c:pt>
                <c:pt idx="84">
                  <c:v>18-III.</c:v>
                </c:pt>
                <c:pt idx="85">
                  <c:v>19-III.</c:v>
                </c:pt>
                <c:pt idx="86">
                  <c:v>20-III.</c:v>
                </c:pt>
                <c:pt idx="87">
                  <c:v>21-III.</c:v>
                </c:pt>
                <c:pt idx="88">
                  <c:v>22-III.</c:v>
                </c:pt>
                <c:pt idx="89">
                  <c:v>23-III.</c:v>
                </c:pt>
                <c:pt idx="90">
                  <c:v>24-III.</c:v>
                </c:pt>
                <c:pt idx="91">
                  <c:v>25-III.</c:v>
                </c:pt>
                <c:pt idx="92">
                  <c:v>26-III.</c:v>
                </c:pt>
                <c:pt idx="93">
                  <c:v>27-III.</c:v>
                </c:pt>
                <c:pt idx="94">
                  <c:v>28-III.</c:v>
                </c:pt>
                <c:pt idx="95">
                  <c:v>29-III.</c:v>
                </c:pt>
                <c:pt idx="96">
                  <c:v>30-III.</c:v>
                </c:pt>
                <c:pt idx="97">
                  <c:v>31-III.</c:v>
                </c:pt>
                <c:pt idx="98">
                  <c:v>1-IV.</c:v>
                </c:pt>
                <c:pt idx="99">
                  <c:v>2-IV.</c:v>
                </c:pt>
                <c:pt idx="100">
                  <c:v>3-IV.</c:v>
                </c:pt>
                <c:pt idx="101">
                  <c:v>4-IV.</c:v>
                </c:pt>
                <c:pt idx="102">
                  <c:v>5-IV.</c:v>
                </c:pt>
                <c:pt idx="103">
                  <c:v>6-IV.</c:v>
                </c:pt>
                <c:pt idx="104">
                  <c:v>7-IV.</c:v>
                </c:pt>
                <c:pt idx="105">
                  <c:v>8-IV.</c:v>
                </c:pt>
                <c:pt idx="106">
                  <c:v>9-IV.</c:v>
                </c:pt>
                <c:pt idx="107">
                  <c:v>10-IV.</c:v>
                </c:pt>
                <c:pt idx="108">
                  <c:v>11-IV.</c:v>
                </c:pt>
                <c:pt idx="109">
                  <c:v>12-IV.</c:v>
                </c:pt>
                <c:pt idx="110">
                  <c:v>13-IV.</c:v>
                </c:pt>
                <c:pt idx="111">
                  <c:v>14-IV.</c:v>
                </c:pt>
                <c:pt idx="112">
                  <c:v>15-IV.</c:v>
                </c:pt>
                <c:pt idx="113">
                  <c:v>16-IV.</c:v>
                </c:pt>
                <c:pt idx="114">
                  <c:v>17-IV.</c:v>
                </c:pt>
                <c:pt idx="115">
                  <c:v>18-IV.</c:v>
                </c:pt>
                <c:pt idx="116">
                  <c:v>19-IV.</c:v>
                </c:pt>
                <c:pt idx="117">
                  <c:v>20-IV.</c:v>
                </c:pt>
                <c:pt idx="118">
                  <c:v>21-IV.</c:v>
                </c:pt>
                <c:pt idx="119">
                  <c:v>22-IV.</c:v>
                </c:pt>
                <c:pt idx="120">
                  <c:v>23-IV.</c:v>
                </c:pt>
                <c:pt idx="121">
                  <c:v>24-IV.</c:v>
                </c:pt>
                <c:pt idx="122">
                  <c:v>25-IV.</c:v>
                </c:pt>
                <c:pt idx="123">
                  <c:v>26-IV.</c:v>
                </c:pt>
                <c:pt idx="124">
                  <c:v>27-IV.</c:v>
                </c:pt>
                <c:pt idx="125">
                  <c:v>28-IV.</c:v>
                </c:pt>
                <c:pt idx="126">
                  <c:v>29-IV.</c:v>
                </c:pt>
                <c:pt idx="127">
                  <c:v>30-IV.</c:v>
                </c:pt>
                <c:pt idx="128">
                  <c:v>1-V.</c:v>
                </c:pt>
                <c:pt idx="129">
                  <c:v>2-V.</c:v>
                </c:pt>
                <c:pt idx="130">
                  <c:v>3-V.</c:v>
                </c:pt>
                <c:pt idx="131">
                  <c:v>4-V.</c:v>
                </c:pt>
                <c:pt idx="132">
                  <c:v>5-V.</c:v>
                </c:pt>
                <c:pt idx="133">
                  <c:v>6-V.</c:v>
                </c:pt>
                <c:pt idx="134">
                  <c:v>7-V.</c:v>
                </c:pt>
                <c:pt idx="135">
                  <c:v>8-V.</c:v>
                </c:pt>
                <c:pt idx="136">
                  <c:v>9-V.</c:v>
                </c:pt>
                <c:pt idx="137">
                  <c:v>10-V.</c:v>
                </c:pt>
                <c:pt idx="138">
                  <c:v>11-V.</c:v>
                </c:pt>
                <c:pt idx="139">
                  <c:v>12-V.</c:v>
                </c:pt>
                <c:pt idx="140">
                  <c:v>13-V.</c:v>
                </c:pt>
                <c:pt idx="141">
                  <c:v>14-V.</c:v>
                </c:pt>
                <c:pt idx="142">
                  <c:v>15-V.</c:v>
                </c:pt>
                <c:pt idx="143">
                  <c:v>16-V.</c:v>
                </c:pt>
                <c:pt idx="144">
                  <c:v>17-V.</c:v>
                </c:pt>
                <c:pt idx="145">
                  <c:v>18-V.</c:v>
                </c:pt>
                <c:pt idx="146">
                  <c:v>19-V.</c:v>
                </c:pt>
                <c:pt idx="147">
                  <c:v>20-V.</c:v>
                </c:pt>
                <c:pt idx="148">
                  <c:v>21-V.</c:v>
                </c:pt>
                <c:pt idx="149">
                  <c:v>22-V.</c:v>
                </c:pt>
                <c:pt idx="150">
                  <c:v>23-V.</c:v>
                </c:pt>
                <c:pt idx="151">
                  <c:v>24-V.</c:v>
                </c:pt>
                <c:pt idx="152">
                  <c:v>25-V.</c:v>
                </c:pt>
                <c:pt idx="153">
                  <c:v>26-V.</c:v>
                </c:pt>
                <c:pt idx="154">
                  <c:v>27-V.</c:v>
                </c:pt>
                <c:pt idx="155">
                  <c:v>28-V.</c:v>
                </c:pt>
                <c:pt idx="156">
                  <c:v>29-V.</c:v>
                </c:pt>
                <c:pt idx="157">
                  <c:v>30-V.</c:v>
                </c:pt>
                <c:pt idx="158">
                  <c:v>31-V.</c:v>
                </c:pt>
                <c:pt idx="159">
                  <c:v>1-VI.</c:v>
                </c:pt>
                <c:pt idx="160">
                  <c:v>2-VI.</c:v>
                </c:pt>
                <c:pt idx="161">
                  <c:v>3-VI.</c:v>
                </c:pt>
                <c:pt idx="162">
                  <c:v>4-VI.</c:v>
                </c:pt>
                <c:pt idx="163">
                  <c:v>5-VI.</c:v>
                </c:pt>
                <c:pt idx="164">
                  <c:v>6-VI.</c:v>
                </c:pt>
                <c:pt idx="165">
                  <c:v>7-VI.</c:v>
                </c:pt>
                <c:pt idx="166">
                  <c:v>8-VI.</c:v>
                </c:pt>
                <c:pt idx="167">
                  <c:v>9-VI.</c:v>
                </c:pt>
                <c:pt idx="168">
                  <c:v>10-VI.</c:v>
                </c:pt>
                <c:pt idx="169">
                  <c:v>11-VI.</c:v>
                </c:pt>
                <c:pt idx="170">
                  <c:v>12-VI.</c:v>
                </c:pt>
                <c:pt idx="171">
                  <c:v>13-VI.</c:v>
                </c:pt>
                <c:pt idx="172">
                  <c:v>14-VI.</c:v>
                </c:pt>
                <c:pt idx="173">
                  <c:v>15-VI.</c:v>
                </c:pt>
                <c:pt idx="174">
                  <c:v>16-VI.</c:v>
                </c:pt>
                <c:pt idx="175">
                  <c:v>17-VI.</c:v>
                </c:pt>
                <c:pt idx="176">
                  <c:v>18-VI.</c:v>
                </c:pt>
                <c:pt idx="177">
                  <c:v>19-VI.</c:v>
                </c:pt>
                <c:pt idx="178">
                  <c:v>20-VI.</c:v>
                </c:pt>
                <c:pt idx="179">
                  <c:v>21-VI.</c:v>
                </c:pt>
                <c:pt idx="180">
                  <c:v>22-VI.</c:v>
                </c:pt>
                <c:pt idx="181">
                  <c:v>23-VI.</c:v>
                </c:pt>
                <c:pt idx="182">
                  <c:v>24-VI.</c:v>
                </c:pt>
                <c:pt idx="183">
                  <c:v>25-VI.</c:v>
                </c:pt>
                <c:pt idx="184">
                  <c:v>26-VI.</c:v>
                </c:pt>
                <c:pt idx="185">
                  <c:v>27-VI.</c:v>
                </c:pt>
                <c:pt idx="186">
                  <c:v>28-VI.</c:v>
                </c:pt>
                <c:pt idx="187">
                  <c:v>29-VI.</c:v>
                </c:pt>
                <c:pt idx="188">
                  <c:v>30-VI.</c:v>
                </c:pt>
                <c:pt idx="189">
                  <c:v>1-VII.</c:v>
                </c:pt>
                <c:pt idx="190">
                  <c:v>2-VII.</c:v>
                </c:pt>
                <c:pt idx="191">
                  <c:v>3-VII.</c:v>
                </c:pt>
                <c:pt idx="192">
                  <c:v>4-VII.</c:v>
                </c:pt>
                <c:pt idx="193">
                  <c:v>5-VII.</c:v>
                </c:pt>
                <c:pt idx="194">
                  <c:v>6-VII.</c:v>
                </c:pt>
                <c:pt idx="195">
                  <c:v>7-VII.</c:v>
                </c:pt>
                <c:pt idx="196">
                  <c:v>8-VII.</c:v>
                </c:pt>
                <c:pt idx="197">
                  <c:v>9-VII.</c:v>
                </c:pt>
                <c:pt idx="198">
                  <c:v>10-VII.</c:v>
                </c:pt>
                <c:pt idx="199">
                  <c:v>11-VII.</c:v>
                </c:pt>
                <c:pt idx="200">
                  <c:v>12-VII.</c:v>
                </c:pt>
                <c:pt idx="201">
                  <c:v>13-VII.</c:v>
                </c:pt>
                <c:pt idx="202">
                  <c:v>14-VII.</c:v>
                </c:pt>
                <c:pt idx="203">
                  <c:v>15-VII.</c:v>
                </c:pt>
                <c:pt idx="204">
                  <c:v>16-VII.</c:v>
                </c:pt>
                <c:pt idx="205">
                  <c:v>17-VII.</c:v>
                </c:pt>
                <c:pt idx="206">
                  <c:v>18-VII.</c:v>
                </c:pt>
                <c:pt idx="207">
                  <c:v>19-VII.</c:v>
                </c:pt>
                <c:pt idx="208">
                  <c:v>20-VII.</c:v>
                </c:pt>
                <c:pt idx="209">
                  <c:v>21-VII.</c:v>
                </c:pt>
                <c:pt idx="210">
                  <c:v>22-VII.</c:v>
                </c:pt>
                <c:pt idx="211">
                  <c:v>23-VII.</c:v>
                </c:pt>
                <c:pt idx="212">
                  <c:v>24-VII.</c:v>
                </c:pt>
                <c:pt idx="213">
                  <c:v>25-VII.</c:v>
                </c:pt>
                <c:pt idx="214">
                  <c:v>26-VII.</c:v>
                </c:pt>
                <c:pt idx="215">
                  <c:v>27-VII.</c:v>
                </c:pt>
                <c:pt idx="216">
                  <c:v>28-VII.</c:v>
                </c:pt>
                <c:pt idx="217">
                  <c:v>29-VII.</c:v>
                </c:pt>
                <c:pt idx="218">
                  <c:v>30-VII.</c:v>
                </c:pt>
                <c:pt idx="219">
                  <c:v>31-VII.</c:v>
                </c:pt>
                <c:pt idx="220">
                  <c:v>1-VIII.</c:v>
                </c:pt>
                <c:pt idx="221">
                  <c:v>2-VIII.</c:v>
                </c:pt>
                <c:pt idx="222">
                  <c:v>3-VIII.</c:v>
                </c:pt>
                <c:pt idx="223">
                  <c:v>4-VIII.</c:v>
                </c:pt>
                <c:pt idx="224">
                  <c:v>5-VIII.</c:v>
                </c:pt>
                <c:pt idx="225">
                  <c:v>6-VIII.</c:v>
                </c:pt>
                <c:pt idx="226">
                  <c:v>7-VIII.</c:v>
                </c:pt>
                <c:pt idx="227">
                  <c:v>8-VIII.</c:v>
                </c:pt>
                <c:pt idx="228">
                  <c:v>9-VIII.</c:v>
                </c:pt>
                <c:pt idx="229">
                  <c:v>10-VIII.</c:v>
                </c:pt>
                <c:pt idx="230">
                  <c:v>11-VIII.</c:v>
                </c:pt>
                <c:pt idx="231">
                  <c:v>12-VIII.</c:v>
                </c:pt>
                <c:pt idx="232">
                  <c:v>13-VIII.</c:v>
                </c:pt>
                <c:pt idx="233">
                  <c:v>14-VIII.</c:v>
                </c:pt>
                <c:pt idx="234">
                  <c:v>15-VIII.</c:v>
                </c:pt>
                <c:pt idx="235">
                  <c:v>16-VIII.</c:v>
                </c:pt>
                <c:pt idx="236">
                  <c:v>17-VIII.</c:v>
                </c:pt>
                <c:pt idx="237">
                  <c:v>18-VIII.</c:v>
                </c:pt>
                <c:pt idx="238">
                  <c:v>19-VIII.</c:v>
                </c:pt>
                <c:pt idx="239">
                  <c:v>20-VIII.</c:v>
                </c:pt>
                <c:pt idx="240">
                  <c:v>21-VIII.</c:v>
                </c:pt>
                <c:pt idx="241">
                  <c:v>22-VIII.</c:v>
                </c:pt>
                <c:pt idx="242">
                  <c:v>23-VIII.</c:v>
                </c:pt>
                <c:pt idx="243">
                  <c:v>24-VIII.</c:v>
                </c:pt>
                <c:pt idx="244">
                  <c:v>25-VIII.</c:v>
                </c:pt>
                <c:pt idx="245">
                  <c:v>26-VIII.</c:v>
                </c:pt>
                <c:pt idx="246">
                  <c:v>27-VIII.</c:v>
                </c:pt>
                <c:pt idx="247">
                  <c:v>28-VIII.</c:v>
                </c:pt>
                <c:pt idx="248">
                  <c:v>29-VIII.</c:v>
                </c:pt>
                <c:pt idx="249">
                  <c:v>30-VIII.</c:v>
                </c:pt>
                <c:pt idx="250">
                  <c:v>31-VIII.</c:v>
                </c:pt>
                <c:pt idx="251">
                  <c:v>1-IX.</c:v>
                </c:pt>
                <c:pt idx="252">
                  <c:v>2-IX.</c:v>
                </c:pt>
                <c:pt idx="253">
                  <c:v>3-IX.</c:v>
                </c:pt>
                <c:pt idx="254">
                  <c:v>4-IX.</c:v>
                </c:pt>
                <c:pt idx="255">
                  <c:v>5-IX.</c:v>
                </c:pt>
                <c:pt idx="256">
                  <c:v>6-IX.</c:v>
                </c:pt>
                <c:pt idx="257">
                  <c:v>7-IX.</c:v>
                </c:pt>
                <c:pt idx="258">
                  <c:v>8-IX.</c:v>
                </c:pt>
                <c:pt idx="259">
                  <c:v>9-IX.</c:v>
                </c:pt>
                <c:pt idx="260">
                  <c:v>10-IX.</c:v>
                </c:pt>
                <c:pt idx="261">
                  <c:v>11-IX.</c:v>
                </c:pt>
                <c:pt idx="262">
                  <c:v>12-IX.</c:v>
                </c:pt>
                <c:pt idx="263">
                  <c:v>13-IX.</c:v>
                </c:pt>
                <c:pt idx="264">
                  <c:v>14-IX.</c:v>
                </c:pt>
                <c:pt idx="265">
                  <c:v>15-IX.</c:v>
                </c:pt>
                <c:pt idx="266">
                  <c:v>16-IX.</c:v>
                </c:pt>
                <c:pt idx="267">
                  <c:v>17-IX.</c:v>
                </c:pt>
                <c:pt idx="268">
                  <c:v>18-IX.</c:v>
                </c:pt>
                <c:pt idx="269">
                  <c:v>19-IX.</c:v>
                </c:pt>
                <c:pt idx="270">
                  <c:v>20-IX.</c:v>
                </c:pt>
                <c:pt idx="271">
                  <c:v>21-IX.</c:v>
                </c:pt>
                <c:pt idx="272">
                  <c:v>22-IX.</c:v>
                </c:pt>
                <c:pt idx="273">
                  <c:v>23-IX.</c:v>
                </c:pt>
                <c:pt idx="274">
                  <c:v>24-IX.</c:v>
                </c:pt>
                <c:pt idx="275">
                  <c:v>25-IX.</c:v>
                </c:pt>
                <c:pt idx="276">
                  <c:v>26-IX.</c:v>
                </c:pt>
                <c:pt idx="277">
                  <c:v>27-IX.</c:v>
                </c:pt>
                <c:pt idx="278">
                  <c:v>28-IX.</c:v>
                </c:pt>
                <c:pt idx="279">
                  <c:v>29-IX.</c:v>
                </c:pt>
                <c:pt idx="280">
                  <c:v>30-IX.</c:v>
                </c:pt>
                <c:pt idx="281">
                  <c:v>1-X.</c:v>
                </c:pt>
                <c:pt idx="282">
                  <c:v>2-X.</c:v>
                </c:pt>
                <c:pt idx="283">
                  <c:v>3-X.</c:v>
                </c:pt>
                <c:pt idx="284">
                  <c:v>4-X.</c:v>
                </c:pt>
                <c:pt idx="285">
                  <c:v>5-X.</c:v>
                </c:pt>
                <c:pt idx="286">
                  <c:v>6-X.</c:v>
                </c:pt>
                <c:pt idx="287">
                  <c:v>7-X.</c:v>
                </c:pt>
                <c:pt idx="288">
                  <c:v>8-X.</c:v>
                </c:pt>
                <c:pt idx="289">
                  <c:v>9-X.</c:v>
                </c:pt>
                <c:pt idx="290">
                  <c:v>10-X.</c:v>
                </c:pt>
                <c:pt idx="291">
                  <c:v>11-X.</c:v>
                </c:pt>
                <c:pt idx="292">
                  <c:v>12-X.</c:v>
                </c:pt>
                <c:pt idx="293">
                  <c:v>13-X.</c:v>
                </c:pt>
                <c:pt idx="294">
                  <c:v>14-X.</c:v>
                </c:pt>
                <c:pt idx="295">
                  <c:v>15-X.</c:v>
                </c:pt>
                <c:pt idx="296">
                  <c:v>16-X.</c:v>
                </c:pt>
                <c:pt idx="297">
                  <c:v>17-X.</c:v>
                </c:pt>
                <c:pt idx="298">
                  <c:v>18-X.</c:v>
                </c:pt>
                <c:pt idx="299">
                  <c:v>19-X.</c:v>
                </c:pt>
                <c:pt idx="300">
                  <c:v>20-X.</c:v>
                </c:pt>
                <c:pt idx="301">
                  <c:v>21-X.</c:v>
                </c:pt>
                <c:pt idx="302">
                  <c:v>22-X.</c:v>
                </c:pt>
                <c:pt idx="303">
                  <c:v>23-X.</c:v>
                </c:pt>
                <c:pt idx="304">
                  <c:v>24-X.</c:v>
                </c:pt>
                <c:pt idx="305">
                  <c:v>25-X.</c:v>
                </c:pt>
                <c:pt idx="306">
                  <c:v>26-X.</c:v>
                </c:pt>
                <c:pt idx="307">
                  <c:v>27-X.</c:v>
                </c:pt>
                <c:pt idx="308">
                  <c:v>28-X.</c:v>
                </c:pt>
                <c:pt idx="309">
                  <c:v>29-X.</c:v>
                </c:pt>
                <c:pt idx="310">
                  <c:v>30-X.</c:v>
                </c:pt>
                <c:pt idx="311">
                  <c:v>31-X.</c:v>
                </c:pt>
                <c:pt idx="312">
                  <c:v>1-XI.</c:v>
                </c:pt>
                <c:pt idx="313">
                  <c:v>2-XI.</c:v>
                </c:pt>
                <c:pt idx="314">
                  <c:v>3-XI.</c:v>
                </c:pt>
                <c:pt idx="315">
                  <c:v>4-XI.</c:v>
                </c:pt>
                <c:pt idx="316">
                  <c:v>5-XI.</c:v>
                </c:pt>
                <c:pt idx="317">
                  <c:v>6-XI.</c:v>
                </c:pt>
                <c:pt idx="318">
                  <c:v>7-XI.</c:v>
                </c:pt>
                <c:pt idx="319">
                  <c:v>8-XI.</c:v>
                </c:pt>
                <c:pt idx="320">
                  <c:v>9-XI.</c:v>
                </c:pt>
                <c:pt idx="321">
                  <c:v>10-XI.</c:v>
                </c:pt>
                <c:pt idx="322">
                  <c:v>11-XI.</c:v>
                </c:pt>
                <c:pt idx="323">
                  <c:v>12-XI.</c:v>
                </c:pt>
                <c:pt idx="324">
                  <c:v>13-XI.</c:v>
                </c:pt>
                <c:pt idx="325">
                  <c:v>14-XI.</c:v>
                </c:pt>
                <c:pt idx="326">
                  <c:v>15-XI.</c:v>
                </c:pt>
                <c:pt idx="327">
                  <c:v>16-XI.</c:v>
                </c:pt>
                <c:pt idx="328">
                  <c:v>17-XI.</c:v>
                </c:pt>
                <c:pt idx="329">
                  <c:v>18-XI.</c:v>
                </c:pt>
                <c:pt idx="330">
                  <c:v>19-XI.</c:v>
                </c:pt>
                <c:pt idx="331">
                  <c:v>20-XI.</c:v>
                </c:pt>
                <c:pt idx="332">
                  <c:v>21-XI.</c:v>
                </c:pt>
                <c:pt idx="333">
                  <c:v>22-XI.</c:v>
                </c:pt>
                <c:pt idx="334">
                  <c:v>23-XI.</c:v>
                </c:pt>
                <c:pt idx="335">
                  <c:v>24-XI.</c:v>
                </c:pt>
                <c:pt idx="336">
                  <c:v>25-XI.</c:v>
                </c:pt>
                <c:pt idx="337">
                  <c:v>26-XI.</c:v>
                </c:pt>
                <c:pt idx="338">
                  <c:v>27-XI.</c:v>
                </c:pt>
                <c:pt idx="339">
                  <c:v>28-XI.</c:v>
                </c:pt>
                <c:pt idx="340">
                  <c:v>29-XI.</c:v>
                </c:pt>
                <c:pt idx="341">
                  <c:v>30-XI.</c:v>
                </c:pt>
                <c:pt idx="342">
                  <c:v>1-XII.</c:v>
                </c:pt>
                <c:pt idx="343">
                  <c:v>2-XII.</c:v>
                </c:pt>
              </c:strCache>
            </c:strRef>
          </c:cat>
          <c:val>
            <c:numRef>
              <c:f>List1!$F$5:$MK$5</c:f>
              <c:numCache>
                <c:formatCode>General</c:formatCode>
                <c:ptCount val="344"/>
                <c:pt idx="3">
                  <c:v>446</c:v>
                </c:pt>
                <c:pt idx="4">
                  <c:v>1178</c:v>
                </c:pt>
                <c:pt idx="5">
                  <c:v>2124</c:v>
                </c:pt>
                <c:pt idx="6">
                  <c:v>3067</c:v>
                </c:pt>
                <c:pt idx="7">
                  <c:v>3405</c:v>
                </c:pt>
                <c:pt idx="8">
                  <c:v>3494</c:v>
                </c:pt>
                <c:pt idx="9">
                  <c:v>3888</c:v>
                </c:pt>
                <c:pt idx="10">
                  <c:v>4201</c:v>
                </c:pt>
                <c:pt idx="11">
                  <c:v>5399</c:v>
                </c:pt>
                <c:pt idx="12">
                  <c:v>6716</c:v>
                </c:pt>
                <c:pt idx="13">
                  <c:v>8212</c:v>
                </c:pt>
                <c:pt idx="14">
                  <c:v>9890</c:v>
                </c:pt>
                <c:pt idx="15">
                  <c:v>11702</c:v>
                </c:pt>
                <c:pt idx="16">
                  <c:v>12110</c:v>
                </c:pt>
                <c:pt idx="17">
                  <c:v>12402</c:v>
                </c:pt>
                <c:pt idx="18">
                  <c:v>14152</c:v>
                </c:pt>
                <c:pt idx="19">
                  <c:v>16105</c:v>
                </c:pt>
                <c:pt idx="20">
                  <c:v>17808</c:v>
                </c:pt>
                <c:pt idx="21">
                  <c:v>19714</c:v>
                </c:pt>
                <c:pt idx="22">
                  <c:v>21519</c:v>
                </c:pt>
                <c:pt idx="23">
                  <c:v>21853</c:v>
                </c:pt>
                <c:pt idx="24">
                  <c:v>22079</c:v>
                </c:pt>
                <c:pt idx="25">
                  <c:v>23640</c:v>
                </c:pt>
                <c:pt idx="26">
                  <c:v>24823</c:v>
                </c:pt>
                <c:pt idx="27">
                  <c:v>25951</c:v>
                </c:pt>
                <c:pt idx="28">
                  <c:v>26953</c:v>
                </c:pt>
                <c:pt idx="29">
                  <c:v>27783</c:v>
                </c:pt>
                <c:pt idx="30">
                  <c:v>27952</c:v>
                </c:pt>
                <c:pt idx="31">
                  <c:v>28034</c:v>
                </c:pt>
                <c:pt idx="32">
                  <c:v>28544</c:v>
                </c:pt>
                <c:pt idx="33">
                  <c:v>29086</c:v>
                </c:pt>
                <c:pt idx="34">
                  <c:v>29485</c:v>
                </c:pt>
                <c:pt idx="35">
                  <c:v>29863</c:v>
                </c:pt>
                <c:pt idx="36">
                  <c:v>30193</c:v>
                </c:pt>
                <c:pt idx="37">
                  <c:v>30218</c:v>
                </c:pt>
                <c:pt idx="38">
                  <c:v>30239</c:v>
                </c:pt>
                <c:pt idx="39">
                  <c:v>30483</c:v>
                </c:pt>
                <c:pt idx="40">
                  <c:v>30719</c:v>
                </c:pt>
                <c:pt idx="41">
                  <c:v>30941</c:v>
                </c:pt>
                <c:pt idx="42">
                  <c:v>31136</c:v>
                </c:pt>
                <c:pt idx="43">
                  <c:v>31411</c:v>
                </c:pt>
                <c:pt idx="44">
                  <c:v>31430</c:v>
                </c:pt>
                <c:pt idx="45">
                  <c:v>31442</c:v>
                </c:pt>
                <c:pt idx="46">
                  <c:v>31578</c:v>
                </c:pt>
                <c:pt idx="47">
                  <c:v>31715</c:v>
                </c:pt>
                <c:pt idx="48">
                  <c:v>31910</c:v>
                </c:pt>
                <c:pt idx="49">
                  <c:v>32141</c:v>
                </c:pt>
                <c:pt idx="50">
                  <c:v>32420</c:v>
                </c:pt>
                <c:pt idx="51">
                  <c:v>32519</c:v>
                </c:pt>
                <c:pt idx="52">
                  <c:v>32584</c:v>
                </c:pt>
                <c:pt idx="53">
                  <c:v>32940</c:v>
                </c:pt>
                <c:pt idx="54">
                  <c:v>33238</c:v>
                </c:pt>
                <c:pt idx="55">
                  <c:v>33499</c:v>
                </c:pt>
                <c:pt idx="56">
                  <c:v>33839</c:v>
                </c:pt>
                <c:pt idx="57">
                  <c:v>34286</c:v>
                </c:pt>
                <c:pt idx="58">
                  <c:v>34392</c:v>
                </c:pt>
                <c:pt idx="59">
                  <c:v>34439</c:v>
                </c:pt>
                <c:pt idx="60">
                  <c:v>34749</c:v>
                </c:pt>
                <c:pt idx="61">
                  <c:v>35230</c:v>
                </c:pt>
                <c:pt idx="62">
                  <c:v>35830</c:v>
                </c:pt>
                <c:pt idx="63">
                  <c:v>36484</c:v>
                </c:pt>
                <c:pt idx="64">
                  <c:v>37028</c:v>
                </c:pt>
                <c:pt idx="65">
                  <c:v>37102</c:v>
                </c:pt>
                <c:pt idx="66">
                  <c:v>37145</c:v>
                </c:pt>
                <c:pt idx="67">
                  <c:v>37693</c:v>
                </c:pt>
                <c:pt idx="68">
                  <c:v>38289</c:v>
                </c:pt>
                <c:pt idx="69">
                  <c:v>38850</c:v>
                </c:pt>
                <c:pt idx="70">
                  <c:v>39393</c:v>
                </c:pt>
                <c:pt idx="71">
                  <c:v>39987</c:v>
                </c:pt>
                <c:pt idx="72">
                  <c:v>40154</c:v>
                </c:pt>
                <c:pt idx="73">
                  <c:v>40262</c:v>
                </c:pt>
                <c:pt idx="74">
                  <c:v>40589</c:v>
                </c:pt>
                <c:pt idx="75">
                  <c:v>40986</c:v>
                </c:pt>
                <c:pt idx="76">
                  <c:v>41391</c:v>
                </c:pt>
                <c:pt idx="77">
                  <c:v>41869</c:v>
                </c:pt>
                <c:pt idx="78">
                  <c:v>42274</c:v>
                </c:pt>
                <c:pt idx="79">
                  <c:v>42412</c:v>
                </c:pt>
                <c:pt idx="80">
                  <c:v>42497</c:v>
                </c:pt>
                <c:pt idx="81">
                  <c:v>42751</c:v>
                </c:pt>
                <c:pt idx="82">
                  <c:v>43113</c:v>
                </c:pt>
                <c:pt idx="83">
                  <c:v>43471</c:v>
                </c:pt>
                <c:pt idx="84">
                  <c:v>43827</c:v>
                </c:pt>
                <c:pt idx="85">
                  <c:v>44155</c:v>
                </c:pt>
                <c:pt idx="86">
                  <c:v>44270</c:v>
                </c:pt>
                <c:pt idx="87">
                  <c:v>44340</c:v>
                </c:pt>
                <c:pt idx="88">
                  <c:v>44514</c:v>
                </c:pt>
                <c:pt idx="89">
                  <c:v>44707</c:v>
                </c:pt>
                <c:pt idx="90">
                  <c:v>44853</c:v>
                </c:pt>
                <c:pt idx="91">
                  <c:v>45045</c:v>
                </c:pt>
                <c:pt idx="92">
                  <c:v>45263</c:v>
                </c:pt>
                <c:pt idx="93">
                  <c:v>45326</c:v>
                </c:pt>
                <c:pt idx="94">
                  <c:v>45368</c:v>
                </c:pt>
                <c:pt idx="95">
                  <c:v>45493</c:v>
                </c:pt>
                <c:pt idx="96">
                  <c:v>45653</c:v>
                </c:pt>
                <c:pt idx="97">
                  <c:v>45813</c:v>
                </c:pt>
                <c:pt idx="98">
                  <c:v>46032</c:v>
                </c:pt>
                <c:pt idx="99">
                  <c:v>46109</c:v>
                </c:pt>
                <c:pt idx="100">
                  <c:v>46129</c:v>
                </c:pt>
                <c:pt idx="101">
                  <c:v>46158</c:v>
                </c:pt>
                <c:pt idx="102">
                  <c:v>46165</c:v>
                </c:pt>
                <c:pt idx="103">
                  <c:v>46255</c:v>
                </c:pt>
                <c:pt idx="104">
                  <c:v>46349</c:v>
                </c:pt>
                <c:pt idx="105">
                  <c:v>46518</c:v>
                </c:pt>
                <c:pt idx="106">
                  <c:v>46719</c:v>
                </c:pt>
                <c:pt idx="107">
                  <c:v>46764</c:v>
                </c:pt>
                <c:pt idx="108">
                  <c:v>46797</c:v>
                </c:pt>
                <c:pt idx="109">
                  <c:v>46933</c:v>
                </c:pt>
                <c:pt idx="110">
                  <c:v>47053</c:v>
                </c:pt>
                <c:pt idx="111">
                  <c:v>47158</c:v>
                </c:pt>
                <c:pt idx="112">
                  <c:v>47314</c:v>
                </c:pt>
                <c:pt idx="113">
                  <c:v>47489</c:v>
                </c:pt>
                <c:pt idx="114">
                  <c:v>47530</c:v>
                </c:pt>
                <c:pt idx="115">
                  <c:v>47585</c:v>
                </c:pt>
                <c:pt idx="116">
                  <c:v>47712</c:v>
                </c:pt>
                <c:pt idx="117">
                  <c:v>47831</c:v>
                </c:pt>
                <c:pt idx="118">
                  <c:v>47965</c:v>
                </c:pt>
                <c:pt idx="119">
                  <c:v>48111</c:v>
                </c:pt>
                <c:pt idx="120">
                  <c:v>48267</c:v>
                </c:pt>
                <c:pt idx="121">
                  <c:v>48323</c:v>
                </c:pt>
                <c:pt idx="122">
                  <c:v>48360</c:v>
                </c:pt>
                <c:pt idx="123">
                  <c:v>48474</c:v>
                </c:pt>
                <c:pt idx="124">
                  <c:v>48594</c:v>
                </c:pt>
                <c:pt idx="125">
                  <c:v>48714</c:v>
                </c:pt>
                <c:pt idx="126">
                  <c:v>48844</c:v>
                </c:pt>
                <c:pt idx="127">
                  <c:v>48982</c:v>
                </c:pt>
                <c:pt idx="128">
                  <c:v>49011</c:v>
                </c:pt>
                <c:pt idx="129">
                  <c:v>49041</c:v>
                </c:pt>
                <c:pt idx="130">
                  <c:v>49162</c:v>
                </c:pt>
                <c:pt idx="131">
                  <c:v>49288</c:v>
                </c:pt>
                <c:pt idx="132">
                  <c:v>49384</c:v>
                </c:pt>
                <c:pt idx="133">
                  <c:v>49501</c:v>
                </c:pt>
                <c:pt idx="134">
                  <c:v>49672</c:v>
                </c:pt>
                <c:pt idx="135">
                  <c:v>49734</c:v>
                </c:pt>
                <c:pt idx="136">
                  <c:v>49766</c:v>
                </c:pt>
                <c:pt idx="137">
                  <c:v>49865</c:v>
                </c:pt>
                <c:pt idx="138">
                  <c:v>49980</c:v>
                </c:pt>
                <c:pt idx="139">
                  <c:v>50112</c:v>
                </c:pt>
                <c:pt idx="140">
                  <c:v>50269</c:v>
                </c:pt>
                <c:pt idx="141">
                  <c:v>50397</c:v>
                </c:pt>
                <c:pt idx="142">
                  <c:v>50468</c:v>
                </c:pt>
                <c:pt idx="143">
                  <c:v>50499</c:v>
                </c:pt>
                <c:pt idx="144">
                  <c:v>50581</c:v>
                </c:pt>
                <c:pt idx="145">
                  <c:v>50673</c:v>
                </c:pt>
                <c:pt idx="146">
                  <c:v>50758</c:v>
                </c:pt>
                <c:pt idx="147">
                  <c:v>50858</c:v>
                </c:pt>
                <c:pt idx="148">
                  <c:v>50965</c:v>
                </c:pt>
                <c:pt idx="149">
                  <c:v>50996</c:v>
                </c:pt>
                <c:pt idx="150">
                  <c:v>51011</c:v>
                </c:pt>
                <c:pt idx="151">
                  <c:v>51061</c:v>
                </c:pt>
                <c:pt idx="152">
                  <c:v>51123</c:v>
                </c:pt>
                <c:pt idx="153">
                  <c:v>51215</c:v>
                </c:pt>
                <c:pt idx="154">
                  <c:v>51296</c:v>
                </c:pt>
                <c:pt idx="155">
                  <c:v>51400</c:v>
                </c:pt>
                <c:pt idx="156">
                  <c:v>51437</c:v>
                </c:pt>
                <c:pt idx="157">
                  <c:v>51470</c:v>
                </c:pt>
                <c:pt idx="158">
                  <c:v>51544</c:v>
                </c:pt>
                <c:pt idx="159">
                  <c:v>51626</c:v>
                </c:pt>
                <c:pt idx="160">
                  <c:v>51722</c:v>
                </c:pt>
                <c:pt idx="161">
                  <c:v>51792</c:v>
                </c:pt>
                <c:pt idx="162">
                  <c:v>51890</c:v>
                </c:pt>
                <c:pt idx="163">
                  <c:v>51917</c:v>
                </c:pt>
                <c:pt idx="164">
                  <c:v>51950</c:v>
                </c:pt>
                <c:pt idx="165">
                  <c:v>52031</c:v>
                </c:pt>
                <c:pt idx="166">
                  <c:v>52128</c:v>
                </c:pt>
                <c:pt idx="167">
                  <c:v>52213</c:v>
                </c:pt>
                <c:pt idx="168">
                  <c:v>52300</c:v>
                </c:pt>
                <c:pt idx="169">
                  <c:v>52395</c:v>
                </c:pt>
                <c:pt idx="170">
                  <c:v>52424</c:v>
                </c:pt>
                <c:pt idx="171">
                  <c:v>52454</c:v>
                </c:pt>
                <c:pt idx="172">
                  <c:v>52524</c:v>
                </c:pt>
                <c:pt idx="173">
                  <c:v>52579</c:v>
                </c:pt>
                <c:pt idx="174">
                  <c:v>52654</c:v>
                </c:pt>
                <c:pt idx="175">
                  <c:v>52730</c:v>
                </c:pt>
                <c:pt idx="176">
                  <c:v>52808</c:v>
                </c:pt>
                <c:pt idx="177">
                  <c:v>52836</c:v>
                </c:pt>
                <c:pt idx="178">
                  <c:v>52861</c:v>
                </c:pt>
                <c:pt idx="179">
                  <c:v>52900</c:v>
                </c:pt>
                <c:pt idx="180">
                  <c:v>52950</c:v>
                </c:pt>
                <c:pt idx="181">
                  <c:v>53003</c:v>
                </c:pt>
                <c:pt idx="182">
                  <c:v>53055</c:v>
                </c:pt>
                <c:pt idx="183">
                  <c:v>53112</c:v>
                </c:pt>
                <c:pt idx="184">
                  <c:v>53126</c:v>
                </c:pt>
                <c:pt idx="185">
                  <c:v>53138</c:v>
                </c:pt>
                <c:pt idx="186">
                  <c:v>53182</c:v>
                </c:pt>
                <c:pt idx="187">
                  <c:v>53228</c:v>
                </c:pt>
                <c:pt idx="188">
                  <c:v>53286</c:v>
                </c:pt>
                <c:pt idx="189">
                  <c:v>53330</c:v>
                </c:pt>
                <c:pt idx="190">
                  <c:v>53385</c:v>
                </c:pt>
                <c:pt idx="191">
                  <c:v>53397</c:v>
                </c:pt>
                <c:pt idx="192">
                  <c:v>53409</c:v>
                </c:pt>
                <c:pt idx="193">
                  <c:v>53415</c:v>
                </c:pt>
                <c:pt idx="194">
                  <c:v>53424</c:v>
                </c:pt>
                <c:pt idx="195">
                  <c:v>53464</c:v>
                </c:pt>
                <c:pt idx="196">
                  <c:v>53519</c:v>
                </c:pt>
                <c:pt idx="197">
                  <c:v>53567</c:v>
                </c:pt>
                <c:pt idx="198">
                  <c:v>53582</c:v>
                </c:pt>
                <c:pt idx="199">
                  <c:v>53596</c:v>
                </c:pt>
                <c:pt idx="200">
                  <c:v>53644</c:v>
                </c:pt>
                <c:pt idx="201">
                  <c:v>53687</c:v>
                </c:pt>
                <c:pt idx="202">
                  <c:v>53733</c:v>
                </c:pt>
                <c:pt idx="203">
                  <c:v>53791</c:v>
                </c:pt>
                <c:pt idx="204">
                  <c:v>53846</c:v>
                </c:pt>
                <c:pt idx="205">
                  <c:v>53868</c:v>
                </c:pt>
                <c:pt idx="206">
                  <c:v>53887</c:v>
                </c:pt>
                <c:pt idx="207">
                  <c:v>53936</c:v>
                </c:pt>
                <c:pt idx="208">
                  <c:v>53981</c:v>
                </c:pt>
                <c:pt idx="209">
                  <c:v>54050</c:v>
                </c:pt>
                <c:pt idx="210">
                  <c:v>54088</c:v>
                </c:pt>
                <c:pt idx="211">
                  <c:v>54121</c:v>
                </c:pt>
                <c:pt idx="212">
                  <c:v>54127</c:v>
                </c:pt>
                <c:pt idx="213">
                  <c:v>54136</c:v>
                </c:pt>
                <c:pt idx="214">
                  <c:v>54176</c:v>
                </c:pt>
                <c:pt idx="215">
                  <c:v>54230</c:v>
                </c:pt>
                <c:pt idx="216">
                  <c:v>54265</c:v>
                </c:pt>
                <c:pt idx="217">
                  <c:v>54293</c:v>
                </c:pt>
                <c:pt idx="218">
                  <c:v>54338</c:v>
                </c:pt>
                <c:pt idx="219">
                  <c:v>54355</c:v>
                </c:pt>
                <c:pt idx="220">
                  <c:v>54368</c:v>
                </c:pt>
                <c:pt idx="221">
                  <c:v>54405</c:v>
                </c:pt>
                <c:pt idx="222">
                  <c:v>54431</c:v>
                </c:pt>
                <c:pt idx="223">
                  <c:v>54471</c:v>
                </c:pt>
                <c:pt idx="224">
                  <c:v>54502</c:v>
                </c:pt>
                <c:pt idx="225">
                  <c:v>54535</c:v>
                </c:pt>
                <c:pt idx="226">
                  <c:v>54548</c:v>
                </c:pt>
                <c:pt idx="227">
                  <c:v>54553</c:v>
                </c:pt>
                <c:pt idx="228">
                  <c:v>54575</c:v>
                </c:pt>
                <c:pt idx="229">
                  <c:v>54590</c:v>
                </c:pt>
                <c:pt idx="230">
                  <c:v>54610</c:v>
                </c:pt>
                <c:pt idx="231">
                  <c:v>54633</c:v>
                </c:pt>
                <c:pt idx="232">
                  <c:v>54658</c:v>
                </c:pt>
                <c:pt idx="233">
                  <c:v>54668</c:v>
                </c:pt>
                <c:pt idx="234">
                  <c:v>54673</c:v>
                </c:pt>
                <c:pt idx="235">
                  <c:v>54690</c:v>
                </c:pt>
                <c:pt idx="236">
                  <c:v>54714</c:v>
                </c:pt>
                <c:pt idx="237">
                  <c:v>54736</c:v>
                </c:pt>
                <c:pt idx="238">
                  <c:v>54758</c:v>
                </c:pt>
                <c:pt idx="239">
                  <c:v>54791</c:v>
                </c:pt>
                <c:pt idx="240">
                  <c:v>54801</c:v>
                </c:pt>
                <c:pt idx="241">
                  <c:v>54804</c:v>
                </c:pt>
                <c:pt idx="242">
                  <c:v>54815</c:v>
                </c:pt>
                <c:pt idx="243">
                  <c:v>54844</c:v>
                </c:pt>
                <c:pt idx="244">
                  <c:v>54868</c:v>
                </c:pt>
                <c:pt idx="245">
                  <c:v>54895</c:v>
                </c:pt>
                <c:pt idx="246">
                  <c:v>54923</c:v>
                </c:pt>
                <c:pt idx="247">
                  <c:v>54925</c:v>
                </c:pt>
                <c:pt idx="248">
                  <c:v>54932</c:v>
                </c:pt>
                <c:pt idx="249">
                  <c:v>54953</c:v>
                </c:pt>
                <c:pt idx="250">
                  <c:v>54978</c:v>
                </c:pt>
                <c:pt idx="251">
                  <c:v>54998</c:v>
                </c:pt>
                <c:pt idx="252">
                  <c:v>55026</c:v>
                </c:pt>
                <c:pt idx="253">
                  <c:v>55052</c:v>
                </c:pt>
                <c:pt idx="254">
                  <c:v>55060</c:v>
                </c:pt>
                <c:pt idx="255">
                  <c:v>55065</c:v>
                </c:pt>
                <c:pt idx="256">
                  <c:v>55078</c:v>
                </c:pt>
                <c:pt idx="257">
                  <c:v>55091</c:v>
                </c:pt>
                <c:pt idx="258">
                  <c:v>55110</c:v>
                </c:pt>
                <c:pt idx="259">
                  <c:v>55138</c:v>
                </c:pt>
                <c:pt idx="260">
                  <c:v>55163</c:v>
                </c:pt>
                <c:pt idx="261">
                  <c:v>55165</c:v>
                </c:pt>
                <c:pt idx="262">
                  <c:v>55168</c:v>
                </c:pt>
                <c:pt idx="263">
                  <c:v>55187</c:v>
                </c:pt>
                <c:pt idx="264">
                  <c:v>55205</c:v>
                </c:pt>
                <c:pt idx="265">
                  <c:v>55220</c:v>
                </c:pt>
                <c:pt idx="266">
                  <c:v>55238</c:v>
                </c:pt>
                <c:pt idx="267">
                  <c:v>55263</c:v>
                </c:pt>
                <c:pt idx="268">
                  <c:v>55268</c:v>
                </c:pt>
                <c:pt idx="269">
                  <c:v>55268</c:v>
                </c:pt>
                <c:pt idx="270">
                  <c:v>55288</c:v>
                </c:pt>
                <c:pt idx="271">
                  <c:v>55296</c:v>
                </c:pt>
                <c:pt idx="272">
                  <c:v>55306</c:v>
                </c:pt>
                <c:pt idx="273">
                  <c:v>55330</c:v>
                </c:pt>
                <c:pt idx="274">
                  <c:v>55356</c:v>
                </c:pt>
                <c:pt idx="275">
                  <c:v>55362</c:v>
                </c:pt>
                <c:pt idx="276">
                  <c:v>55362</c:v>
                </c:pt>
                <c:pt idx="277">
                  <c:v>55374</c:v>
                </c:pt>
                <c:pt idx="278">
                  <c:v>55374</c:v>
                </c:pt>
                <c:pt idx="279">
                  <c:v>55391</c:v>
                </c:pt>
                <c:pt idx="280">
                  <c:v>55406</c:v>
                </c:pt>
                <c:pt idx="281">
                  <c:v>55426</c:v>
                </c:pt>
                <c:pt idx="282">
                  <c:v>55432</c:v>
                </c:pt>
                <c:pt idx="283">
                  <c:v>55432</c:v>
                </c:pt>
                <c:pt idx="284">
                  <c:v>55442</c:v>
                </c:pt>
                <c:pt idx="285">
                  <c:v>55449</c:v>
                </c:pt>
                <c:pt idx="286">
                  <c:v>55461</c:v>
                </c:pt>
                <c:pt idx="287">
                  <c:v>55479</c:v>
                </c:pt>
                <c:pt idx="288">
                  <c:v>55493</c:v>
                </c:pt>
                <c:pt idx="289">
                  <c:v>55499</c:v>
                </c:pt>
                <c:pt idx="290">
                  <c:v>55499</c:v>
                </c:pt>
                <c:pt idx="291">
                  <c:v>55518</c:v>
                </c:pt>
                <c:pt idx="292">
                  <c:v>55536</c:v>
                </c:pt>
                <c:pt idx="293">
                  <c:v>55543</c:v>
                </c:pt>
                <c:pt idx="294">
                  <c:v>55553</c:v>
                </c:pt>
                <c:pt idx="295">
                  <c:v>55570</c:v>
                </c:pt>
                <c:pt idx="296">
                  <c:v>55572</c:v>
                </c:pt>
                <c:pt idx="297">
                  <c:v>55574</c:v>
                </c:pt>
                <c:pt idx="298">
                  <c:v>55595</c:v>
                </c:pt>
                <c:pt idx="299">
                  <c:v>55601</c:v>
                </c:pt>
                <c:pt idx="300">
                  <c:v>55615</c:v>
                </c:pt>
                <c:pt idx="301">
                  <c:v>55640</c:v>
                </c:pt>
                <c:pt idx="302">
                  <c:v>55679</c:v>
                </c:pt>
                <c:pt idx="303">
                  <c:v>55686</c:v>
                </c:pt>
                <c:pt idx="304">
                  <c:v>55692</c:v>
                </c:pt>
                <c:pt idx="305">
                  <c:v>55713</c:v>
                </c:pt>
                <c:pt idx="306">
                  <c:v>55748</c:v>
                </c:pt>
                <c:pt idx="307">
                  <c:v>55793</c:v>
                </c:pt>
                <c:pt idx="308">
                  <c:v>55800</c:v>
                </c:pt>
                <c:pt idx="309">
                  <c:v>55834</c:v>
                </c:pt>
                <c:pt idx="310">
                  <c:v>55846</c:v>
                </c:pt>
                <c:pt idx="311">
                  <c:v>55849</c:v>
                </c:pt>
                <c:pt idx="312">
                  <c:v>55891</c:v>
                </c:pt>
                <c:pt idx="313">
                  <c:v>55929</c:v>
                </c:pt>
                <c:pt idx="314">
                  <c:v>55964</c:v>
                </c:pt>
                <c:pt idx="315">
                  <c:v>56022</c:v>
                </c:pt>
                <c:pt idx="316">
                  <c:v>56084</c:v>
                </c:pt>
                <c:pt idx="317">
                  <c:v>56108</c:v>
                </c:pt>
                <c:pt idx="318">
                  <c:v>56123</c:v>
                </c:pt>
                <c:pt idx="319">
                  <c:v>56153</c:v>
                </c:pt>
                <c:pt idx="320">
                  <c:v>56189</c:v>
                </c:pt>
                <c:pt idx="321">
                  <c:v>56222</c:v>
                </c:pt>
                <c:pt idx="322">
                  <c:v>56255</c:v>
                </c:pt>
                <c:pt idx="323">
                  <c:v>56317</c:v>
                </c:pt>
                <c:pt idx="324">
                  <c:v>56328</c:v>
                </c:pt>
                <c:pt idx="325">
                  <c:v>56337</c:v>
                </c:pt>
                <c:pt idx="326">
                  <c:v>56384</c:v>
                </c:pt>
                <c:pt idx="327">
                  <c:v>56440</c:v>
                </c:pt>
                <c:pt idx="328">
                  <c:v>56454</c:v>
                </c:pt>
                <c:pt idx="329">
                  <c:v>56498</c:v>
                </c:pt>
                <c:pt idx="330">
                  <c:v>56564</c:v>
                </c:pt>
                <c:pt idx="331">
                  <c:v>56590</c:v>
                </c:pt>
                <c:pt idx="332">
                  <c:v>56601</c:v>
                </c:pt>
                <c:pt idx="333">
                  <c:v>56649</c:v>
                </c:pt>
                <c:pt idx="334">
                  <c:v>56701</c:v>
                </c:pt>
                <c:pt idx="335">
                  <c:v>56737</c:v>
                </c:pt>
                <c:pt idx="336">
                  <c:v>56788</c:v>
                </c:pt>
                <c:pt idx="337">
                  <c:v>56848</c:v>
                </c:pt>
                <c:pt idx="338">
                  <c:v>56858</c:v>
                </c:pt>
                <c:pt idx="339">
                  <c:v>56863</c:v>
                </c:pt>
                <c:pt idx="340">
                  <c:v>56892</c:v>
                </c:pt>
                <c:pt idx="341">
                  <c:v>56920</c:v>
                </c:pt>
                <c:pt idx="342">
                  <c:v>56953</c:v>
                </c:pt>
                <c:pt idx="343">
                  <c:v>569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783-4536-9939-DB56A099F9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35740047"/>
        <c:axId val="1249189871"/>
      </c:lineChart>
      <c:catAx>
        <c:axId val="13357400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00000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249189871"/>
        <c:crosses val="autoZero"/>
        <c:auto val="1"/>
        <c:lblAlgn val="ctr"/>
        <c:lblOffset val="100"/>
        <c:tickLblSkip val="7"/>
        <c:noMultiLvlLbl val="0"/>
      </c:catAx>
      <c:valAx>
        <c:axId val="12491898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335740047"/>
        <c:crosses val="autoZero"/>
        <c:crossBetween val="midCat"/>
        <c:majorUnit val="200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2797528443005752"/>
          <c:y val="0.28604517875847346"/>
          <c:w val="0.10158527092232689"/>
          <c:h val="0.4728885344872771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O$1:$AB$1</c:f>
              <c:strCache>
                <c:ptCount val="14"/>
                <c:pt idx="0">
                  <c:v>27.08 - 02.09</c:v>
                </c:pt>
                <c:pt idx="1">
                  <c:v>03.09 - 09.09</c:v>
                </c:pt>
                <c:pt idx="2">
                  <c:v>10.09 - 16.09</c:v>
                </c:pt>
                <c:pt idx="3">
                  <c:v>17.09 - 23.09</c:v>
                </c:pt>
                <c:pt idx="4">
                  <c:v>24.09 - 30.09</c:v>
                </c:pt>
                <c:pt idx="5">
                  <c:v>01.10 - 07.10</c:v>
                </c:pt>
                <c:pt idx="6">
                  <c:v>08.10 - 14.10</c:v>
                </c:pt>
                <c:pt idx="7">
                  <c:v>15.10 - 21.10</c:v>
                </c:pt>
                <c:pt idx="8">
                  <c:v>22.10 - 28.10</c:v>
                </c:pt>
                <c:pt idx="9">
                  <c:v>29.10 - 04.11</c:v>
                </c:pt>
                <c:pt idx="10">
                  <c:v>05.11 - 11.11</c:v>
                </c:pt>
                <c:pt idx="11">
                  <c:v>12.11 - 18.11</c:v>
                </c:pt>
                <c:pt idx="12">
                  <c:v>19.11 - 25.11</c:v>
                </c:pt>
                <c:pt idx="13">
                  <c:v>26.11 - 02.12</c:v>
                </c:pt>
              </c:strCache>
            </c:strRef>
          </c:cat>
          <c:val>
            <c:numRef>
              <c:f>List1!$O$2:$AB$2</c:f>
              <c:numCache>
                <c:formatCode>General</c:formatCode>
                <c:ptCount val="14"/>
                <c:pt idx="0">
                  <c:v>8.4753184000000008</c:v>
                </c:pt>
                <c:pt idx="1">
                  <c:v>19.170535999999998</c:v>
                </c:pt>
                <c:pt idx="2">
                  <c:v>32.059123700000001</c:v>
                </c:pt>
                <c:pt idx="3">
                  <c:v>52.458096599999998</c:v>
                </c:pt>
                <c:pt idx="4">
                  <c:v>57.925268000000003</c:v>
                </c:pt>
                <c:pt idx="5">
                  <c:v>106.6904997</c:v>
                </c:pt>
                <c:pt idx="6">
                  <c:v>201.7518647</c:v>
                </c:pt>
                <c:pt idx="7">
                  <c:v>288.83845669999999</c:v>
                </c:pt>
                <c:pt idx="8">
                  <c:v>291.64914069999998</c:v>
                </c:pt>
                <c:pt idx="9">
                  <c:v>215.9935424</c:v>
                </c:pt>
                <c:pt idx="10">
                  <c:v>126.32059270000001</c:v>
                </c:pt>
                <c:pt idx="11">
                  <c:v>94.012933700000005</c:v>
                </c:pt>
                <c:pt idx="12">
                  <c:v>85.639291700000001</c:v>
                </c:pt>
                <c:pt idx="13">
                  <c:v>93.6704356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O$1:$AB$1</c:f>
              <c:strCache>
                <c:ptCount val="14"/>
                <c:pt idx="0">
                  <c:v>27.08 - 02.09</c:v>
                </c:pt>
                <c:pt idx="1">
                  <c:v>03.09 - 09.09</c:v>
                </c:pt>
                <c:pt idx="2">
                  <c:v>10.09 - 16.09</c:v>
                </c:pt>
                <c:pt idx="3">
                  <c:v>17.09 - 23.09</c:v>
                </c:pt>
                <c:pt idx="4">
                  <c:v>24.09 - 30.09</c:v>
                </c:pt>
                <c:pt idx="5">
                  <c:v>01.10 - 07.10</c:v>
                </c:pt>
                <c:pt idx="6">
                  <c:v>08.10 - 14.10</c:v>
                </c:pt>
                <c:pt idx="7">
                  <c:v>15.10 - 21.10</c:v>
                </c:pt>
                <c:pt idx="8">
                  <c:v>22.10 - 28.10</c:v>
                </c:pt>
                <c:pt idx="9">
                  <c:v>29.10 - 04.11</c:v>
                </c:pt>
                <c:pt idx="10">
                  <c:v>05.11 - 11.11</c:v>
                </c:pt>
                <c:pt idx="11">
                  <c:v>12.11 - 18.11</c:v>
                </c:pt>
                <c:pt idx="12">
                  <c:v>19.11 - 25.11</c:v>
                </c:pt>
                <c:pt idx="13">
                  <c:v>26.11 - 02.12</c:v>
                </c:pt>
              </c:strCache>
            </c:strRef>
          </c:cat>
          <c:val>
            <c:numRef>
              <c:f>List1!$O$3:$AB$3</c:f>
              <c:numCache>
                <c:formatCode>General</c:formatCode>
                <c:ptCount val="14"/>
                <c:pt idx="0">
                  <c:v>3.0583165000000001</c:v>
                </c:pt>
                <c:pt idx="1">
                  <c:v>1.9426151</c:v>
                </c:pt>
                <c:pt idx="2">
                  <c:v>3.5998814000000001</c:v>
                </c:pt>
                <c:pt idx="3">
                  <c:v>3.3157689000000001</c:v>
                </c:pt>
                <c:pt idx="4">
                  <c:v>7.4443533999999998</c:v>
                </c:pt>
                <c:pt idx="5">
                  <c:v>5.7826069999999996</c:v>
                </c:pt>
                <c:pt idx="6">
                  <c:v>9.6369617999999999</c:v>
                </c:pt>
                <c:pt idx="7">
                  <c:v>21.475120499999999</c:v>
                </c:pt>
                <c:pt idx="8">
                  <c:v>36.890311799999999</c:v>
                </c:pt>
                <c:pt idx="9">
                  <c:v>63.870145299999997</c:v>
                </c:pt>
                <c:pt idx="10">
                  <c:v>74.903685400000001</c:v>
                </c:pt>
                <c:pt idx="11">
                  <c:v>90.077433499999998</c:v>
                </c:pt>
                <c:pt idx="12">
                  <c:v>107.1894056</c:v>
                </c:pt>
                <c:pt idx="13">
                  <c:v>85.4500598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298</c:f>
              <c:numCache>
                <c:formatCode>m/d/yyyy</c:formatCode>
                <c:ptCount val="164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9</c:v>
                </c:pt>
                <c:pt idx="21">
                  <c:v>44390</c:v>
                </c:pt>
                <c:pt idx="22">
                  <c:v>44391</c:v>
                </c:pt>
                <c:pt idx="23">
                  <c:v>44392</c:v>
                </c:pt>
                <c:pt idx="24">
                  <c:v>44393</c:v>
                </c:pt>
                <c:pt idx="25">
                  <c:v>44394</c:v>
                </c:pt>
                <c:pt idx="26">
                  <c:v>44395</c:v>
                </c:pt>
                <c:pt idx="27">
                  <c:v>44396</c:v>
                </c:pt>
                <c:pt idx="28">
                  <c:v>44397</c:v>
                </c:pt>
                <c:pt idx="29">
                  <c:v>44398</c:v>
                </c:pt>
                <c:pt idx="30">
                  <c:v>44399</c:v>
                </c:pt>
                <c:pt idx="31">
                  <c:v>44400</c:v>
                </c:pt>
                <c:pt idx="32">
                  <c:v>44401</c:v>
                </c:pt>
                <c:pt idx="33">
                  <c:v>44402</c:v>
                </c:pt>
                <c:pt idx="34">
                  <c:v>44403</c:v>
                </c:pt>
                <c:pt idx="35">
                  <c:v>44404</c:v>
                </c:pt>
                <c:pt idx="36">
                  <c:v>44405</c:v>
                </c:pt>
                <c:pt idx="37">
                  <c:v>44406</c:v>
                </c:pt>
                <c:pt idx="38">
                  <c:v>44407</c:v>
                </c:pt>
                <c:pt idx="39">
                  <c:v>44408</c:v>
                </c:pt>
                <c:pt idx="40">
                  <c:v>44409</c:v>
                </c:pt>
                <c:pt idx="41">
                  <c:v>44410</c:v>
                </c:pt>
                <c:pt idx="42">
                  <c:v>44411</c:v>
                </c:pt>
                <c:pt idx="43">
                  <c:v>44412</c:v>
                </c:pt>
                <c:pt idx="44">
                  <c:v>44413</c:v>
                </c:pt>
                <c:pt idx="45">
                  <c:v>44414</c:v>
                </c:pt>
                <c:pt idx="46">
                  <c:v>44415</c:v>
                </c:pt>
                <c:pt idx="47">
                  <c:v>44416</c:v>
                </c:pt>
                <c:pt idx="48">
                  <c:v>44417</c:v>
                </c:pt>
                <c:pt idx="49">
                  <c:v>44418</c:v>
                </c:pt>
                <c:pt idx="50">
                  <c:v>44419</c:v>
                </c:pt>
                <c:pt idx="51">
                  <c:v>44420</c:v>
                </c:pt>
                <c:pt idx="52">
                  <c:v>44421</c:v>
                </c:pt>
                <c:pt idx="53">
                  <c:v>44422</c:v>
                </c:pt>
                <c:pt idx="54">
                  <c:v>44423</c:v>
                </c:pt>
                <c:pt idx="55">
                  <c:v>44424</c:v>
                </c:pt>
                <c:pt idx="56">
                  <c:v>44425</c:v>
                </c:pt>
                <c:pt idx="57">
                  <c:v>44426</c:v>
                </c:pt>
                <c:pt idx="58">
                  <c:v>44427</c:v>
                </c:pt>
                <c:pt idx="59">
                  <c:v>44428</c:v>
                </c:pt>
                <c:pt idx="60">
                  <c:v>44429</c:v>
                </c:pt>
                <c:pt idx="61">
                  <c:v>44430</c:v>
                </c:pt>
                <c:pt idx="62">
                  <c:v>44431</c:v>
                </c:pt>
                <c:pt idx="63">
                  <c:v>44432</c:v>
                </c:pt>
                <c:pt idx="64">
                  <c:v>44433</c:v>
                </c:pt>
                <c:pt idx="65">
                  <c:v>44434</c:v>
                </c:pt>
                <c:pt idx="66">
                  <c:v>44435</c:v>
                </c:pt>
                <c:pt idx="67">
                  <c:v>44436</c:v>
                </c:pt>
                <c:pt idx="68">
                  <c:v>44437</c:v>
                </c:pt>
                <c:pt idx="69">
                  <c:v>44438</c:v>
                </c:pt>
                <c:pt idx="70">
                  <c:v>44439</c:v>
                </c:pt>
                <c:pt idx="71">
                  <c:v>44440</c:v>
                </c:pt>
                <c:pt idx="72">
                  <c:v>44441</c:v>
                </c:pt>
                <c:pt idx="73">
                  <c:v>44442</c:v>
                </c:pt>
                <c:pt idx="74">
                  <c:v>44443</c:v>
                </c:pt>
                <c:pt idx="75">
                  <c:v>44444</c:v>
                </c:pt>
                <c:pt idx="76">
                  <c:v>44445</c:v>
                </c:pt>
                <c:pt idx="77">
                  <c:v>44446</c:v>
                </c:pt>
                <c:pt idx="78">
                  <c:v>44447</c:v>
                </c:pt>
                <c:pt idx="79">
                  <c:v>44448</c:v>
                </c:pt>
                <c:pt idx="80">
                  <c:v>44449</c:v>
                </c:pt>
                <c:pt idx="81">
                  <c:v>44450</c:v>
                </c:pt>
                <c:pt idx="82">
                  <c:v>44451</c:v>
                </c:pt>
                <c:pt idx="83">
                  <c:v>44452</c:v>
                </c:pt>
                <c:pt idx="84">
                  <c:v>44453</c:v>
                </c:pt>
                <c:pt idx="85">
                  <c:v>44454</c:v>
                </c:pt>
                <c:pt idx="86">
                  <c:v>44455</c:v>
                </c:pt>
                <c:pt idx="87">
                  <c:v>44456</c:v>
                </c:pt>
                <c:pt idx="88">
                  <c:v>44457</c:v>
                </c:pt>
                <c:pt idx="89">
                  <c:v>44458</c:v>
                </c:pt>
                <c:pt idx="90">
                  <c:v>44459</c:v>
                </c:pt>
                <c:pt idx="91">
                  <c:v>44460</c:v>
                </c:pt>
                <c:pt idx="92">
                  <c:v>44461</c:v>
                </c:pt>
                <c:pt idx="93">
                  <c:v>44462</c:v>
                </c:pt>
                <c:pt idx="94">
                  <c:v>44463</c:v>
                </c:pt>
                <c:pt idx="95">
                  <c:v>44464</c:v>
                </c:pt>
                <c:pt idx="96">
                  <c:v>44465</c:v>
                </c:pt>
                <c:pt idx="97">
                  <c:v>44466</c:v>
                </c:pt>
                <c:pt idx="98">
                  <c:v>44467</c:v>
                </c:pt>
                <c:pt idx="99">
                  <c:v>44468</c:v>
                </c:pt>
                <c:pt idx="100">
                  <c:v>44469</c:v>
                </c:pt>
                <c:pt idx="101">
                  <c:v>44470</c:v>
                </c:pt>
                <c:pt idx="102">
                  <c:v>44471</c:v>
                </c:pt>
                <c:pt idx="103">
                  <c:v>44472</c:v>
                </c:pt>
                <c:pt idx="104">
                  <c:v>44473</c:v>
                </c:pt>
                <c:pt idx="105">
                  <c:v>44474</c:v>
                </c:pt>
                <c:pt idx="106">
                  <c:v>44475</c:v>
                </c:pt>
                <c:pt idx="107">
                  <c:v>44476</c:v>
                </c:pt>
                <c:pt idx="108">
                  <c:v>44477</c:v>
                </c:pt>
                <c:pt idx="109">
                  <c:v>44478</c:v>
                </c:pt>
                <c:pt idx="110">
                  <c:v>44479</c:v>
                </c:pt>
                <c:pt idx="111">
                  <c:v>44480</c:v>
                </c:pt>
                <c:pt idx="112">
                  <c:v>44481</c:v>
                </c:pt>
                <c:pt idx="113">
                  <c:v>44482</c:v>
                </c:pt>
                <c:pt idx="114">
                  <c:v>44483</c:v>
                </c:pt>
                <c:pt idx="115">
                  <c:v>44484</c:v>
                </c:pt>
                <c:pt idx="116">
                  <c:v>44485</c:v>
                </c:pt>
                <c:pt idx="117">
                  <c:v>44486</c:v>
                </c:pt>
                <c:pt idx="118">
                  <c:v>44487</c:v>
                </c:pt>
                <c:pt idx="119">
                  <c:v>44488</c:v>
                </c:pt>
                <c:pt idx="120">
                  <c:v>44489</c:v>
                </c:pt>
                <c:pt idx="121">
                  <c:v>44490</c:v>
                </c:pt>
                <c:pt idx="122">
                  <c:v>44491</c:v>
                </c:pt>
                <c:pt idx="123">
                  <c:v>44492</c:v>
                </c:pt>
                <c:pt idx="124">
                  <c:v>44493</c:v>
                </c:pt>
                <c:pt idx="125">
                  <c:v>44494</c:v>
                </c:pt>
                <c:pt idx="126">
                  <c:v>44495</c:v>
                </c:pt>
                <c:pt idx="127">
                  <c:v>44496</c:v>
                </c:pt>
                <c:pt idx="128">
                  <c:v>44497</c:v>
                </c:pt>
                <c:pt idx="129">
                  <c:v>44498</c:v>
                </c:pt>
                <c:pt idx="130">
                  <c:v>44499</c:v>
                </c:pt>
                <c:pt idx="131">
                  <c:v>44500</c:v>
                </c:pt>
                <c:pt idx="132">
                  <c:v>44501</c:v>
                </c:pt>
                <c:pt idx="133">
                  <c:v>44502</c:v>
                </c:pt>
                <c:pt idx="134">
                  <c:v>44503</c:v>
                </c:pt>
                <c:pt idx="135">
                  <c:v>44504</c:v>
                </c:pt>
                <c:pt idx="136">
                  <c:v>44505</c:v>
                </c:pt>
                <c:pt idx="137">
                  <c:v>44506</c:v>
                </c:pt>
                <c:pt idx="138">
                  <c:v>44507</c:v>
                </c:pt>
                <c:pt idx="139">
                  <c:v>44508</c:v>
                </c:pt>
                <c:pt idx="140">
                  <c:v>44509</c:v>
                </c:pt>
                <c:pt idx="141">
                  <c:v>44510</c:v>
                </c:pt>
                <c:pt idx="142">
                  <c:v>44511</c:v>
                </c:pt>
                <c:pt idx="143">
                  <c:v>44512</c:v>
                </c:pt>
                <c:pt idx="144">
                  <c:v>44513</c:v>
                </c:pt>
                <c:pt idx="145">
                  <c:v>44514</c:v>
                </c:pt>
                <c:pt idx="146">
                  <c:v>44515</c:v>
                </c:pt>
                <c:pt idx="147">
                  <c:v>44516</c:v>
                </c:pt>
                <c:pt idx="148">
                  <c:v>44517</c:v>
                </c:pt>
                <c:pt idx="149">
                  <c:v>44518</c:v>
                </c:pt>
                <c:pt idx="150">
                  <c:v>44519</c:v>
                </c:pt>
                <c:pt idx="151">
                  <c:v>44520</c:v>
                </c:pt>
                <c:pt idx="152">
                  <c:v>44521</c:v>
                </c:pt>
                <c:pt idx="153">
                  <c:v>44522</c:v>
                </c:pt>
                <c:pt idx="154">
                  <c:v>44523</c:v>
                </c:pt>
                <c:pt idx="155">
                  <c:v>44524</c:v>
                </c:pt>
                <c:pt idx="156">
                  <c:v>44525</c:v>
                </c:pt>
                <c:pt idx="157">
                  <c:v>44526</c:v>
                </c:pt>
                <c:pt idx="158">
                  <c:v>44527</c:v>
                </c:pt>
                <c:pt idx="159">
                  <c:v>44528</c:v>
                </c:pt>
                <c:pt idx="160">
                  <c:v>44529</c:v>
                </c:pt>
                <c:pt idx="161">
                  <c:v>44530</c:v>
                </c:pt>
                <c:pt idx="162">
                  <c:v>44531</c:v>
                </c:pt>
                <c:pt idx="163">
                  <c:v>44532</c:v>
                </c:pt>
              </c:numCache>
            </c:numRef>
          </c:cat>
          <c:val>
            <c:numRef>
              <c:f>Sheet1!$B$135:$B$298</c:f>
              <c:numCache>
                <c:formatCode>General</c:formatCode>
                <c:ptCount val="164"/>
                <c:pt idx="0">
                  <c:v>2</c:v>
                </c:pt>
                <c:pt idx="1">
                  <c:v>3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1</c:v>
                </c:pt>
                <c:pt idx="7">
                  <c:v>0</c:v>
                </c:pt>
                <c:pt idx="8">
                  <c:v>1</c:v>
                </c:pt>
                <c:pt idx="9">
                  <c:v>1</c:v>
                </c:pt>
                <c:pt idx="10">
                  <c:v>2</c:v>
                </c:pt>
                <c:pt idx="11">
                  <c:v>1</c:v>
                </c:pt>
                <c:pt idx="12">
                  <c:v>2</c:v>
                </c:pt>
                <c:pt idx="13">
                  <c:v>1</c:v>
                </c:pt>
                <c:pt idx="14">
                  <c:v>4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</c:v>
                </c:pt>
                <c:pt idx="19">
                  <c:v>1</c:v>
                </c:pt>
                <c:pt idx="20">
                  <c:v>2</c:v>
                </c:pt>
                <c:pt idx="21">
                  <c:v>3</c:v>
                </c:pt>
                <c:pt idx="22">
                  <c:v>3</c:v>
                </c:pt>
                <c:pt idx="23">
                  <c:v>3</c:v>
                </c:pt>
                <c:pt idx="24">
                  <c:v>0</c:v>
                </c:pt>
                <c:pt idx="25">
                  <c:v>0</c:v>
                </c:pt>
                <c:pt idx="26">
                  <c:v>2</c:v>
                </c:pt>
                <c:pt idx="27">
                  <c:v>5</c:v>
                </c:pt>
                <c:pt idx="28">
                  <c:v>1</c:v>
                </c:pt>
                <c:pt idx="29">
                  <c:v>4</c:v>
                </c:pt>
                <c:pt idx="30">
                  <c:v>0</c:v>
                </c:pt>
                <c:pt idx="31">
                  <c:v>4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0</c:v>
                </c:pt>
                <c:pt idx="36">
                  <c:v>0</c:v>
                </c:pt>
                <c:pt idx="37">
                  <c:v>2</c:v>
                </c:pt>
                <c:pt idx="38">
                  <c:v>1</c:v>
                </c:pt>
                <c:pt idx="39">
                  <c:v>1</c:v>
                </c:pt>
                <c:pt idx="40">
                  <c:v>0</c:v>
                </c:pt>
                <c:pt idx="41">
                  <c:v>0</c:v>
                </c:pt>
                <c:pt idx="42">
                  <c:v>2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0</c:v>
                </c:pt>
                <c:pt idx="47">
                  <c:v>0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1</c:v>
                </c:pt>
                <c:pt idx="52">
                  <c:v>2</c:v>
                </c:pt>
                <c:pt idx="53">
                  <c:v>3</c:v>
                </c:pt>
                <c:pt idx="54">
                  <c:v>1</c:v>
                </c:pt>
                <c:pt idx="55">
                  <c:v>3</c:v>
                </c:pt>
                <c:pt idx="56">
                  <c:v>3</c:v>
                </c:pt>
                <c:pt idx="57">
                  <c:v>2</c:v>
                </c:pt>
                <c:pt idx="58">
                  <c:v>1</c:v>
                </c:pt>
                <c:pt idx="59">
                  <c:v>0</c:v>
                </c:pt>
                <c:pt idx="60">
                  <c:v>0</c:v>
                </c:pt>
                <c:pt idx="61">
                  <c:v>1</c:v>
                </c:pt>
                <c:pt idx="62">
                  <c:v>5</c:v>
                </c:pt>
                <c:pt idx="63">
                  <c:v>2</c:v>
                </c:pt>
                <c:pt idx="64">
                  <c:v>0</c:v>
                </c:pt>
                <c:pt idx="65">
                  <c:v>2</c:v>
                </c:pt>
                <c:pt idx="66">
                  <c:v>1</c:v>
                </c:pt>
                <c:pt idx="67">
                  <c:v>2</c:v>
                </c:pt>
                <c:pt idx="68">
                  <c:v>1</c:v>
                </c:pt>
                <c:pt idx="69">
                  <c:v>0</c:v>
                </c:pt>
                <c:pt idx="70">
                  <c:v>2</c:v>
                </c:pt>
                <c:pt idx="71">
                  <c:v>1</c:v>
                </c:pt>
                <c:pt idx="72">
                  <c:v>6</c:v>
                </c:pt>
                <c:pt idx="73">
                  <c:v>6</c:v>
                </c:pt>
                <c:pt idx="74">
                  <c:v>1</c:v>
                </c:pt>
                <c:pt idx="75">
                  <c:v>1</c:v>
                </c:pt>
                <c:pt idx="76">
                  <c:v>2</c:v>
                </c:pt>
                <c:pt idx="77">
                  <c:v>6</c:v>
                </c:pt>
                <c:pt idx="78">
                  <c:v>1</c:v>
                </c:pt>
                <c:pt idx="79">
                  <c:v>4</c:v>
                </c:pt>
                <c:pt idx="80">
                  <c:v>0</c:v>
                </c:pt>
                <c:pt idx="81">
                  <c:v>1</c:v>
                </c:pt>
                <c:pt idx="82">
                  <c:v>2</c:v>
                </c:pt>
                <c:pt idx="83">
                  <c:v>3</c:v>
                </c:pt>
                <c:pt idx="84">
                  <c:v>5</c:v>
                </c:pt>
                <c:pt idx="85">
                  <c:v>3</c:v>
                </c:pt>
                <c:pt idx="86">
                  <c:v>8</c:v>
                </c:pt>
                <c:pt idx="87">
                  <c:v>6</c:v>
                </c:pt>
                <c:pt idx="88">
                  <c:v>2</c:v>
                </c:pt>
                <c:pt idx="89">
                  <c:v>2</c:v>
                </c:pt>
                <c:pt idx="90">
                  <c:v>10</c:v>
                </c:pt>
                <c:pt idx="91">
                  <c:v>7</c:v>
                </c:pt>
                <c:pt idx="92">
                  <c:v>6</c:v>
                </c:pt>
                <c:pt idx="93">
                  <c:v>5</c:v>
                </c:pt>
                <c:pt idx="94">
                  <c:v>7</c:v>
                </c:pt>
                <c:pt idx="95">
                  <c:v>7</c:v>
                </c:pt>
                <c:pt idx="96">
                  <c:v>6</c:v>
                </c:pt>
                <c:pt idx="97">
                  <c:v>5</c:v>
                </c:pt>
                <c:pt idx="98">
                  <c:v>9</c:v>
                </c:pt>
                <c:pt idx="99">
                  <c:v>12</c:v>
                </c:pt>
                <c:pt idx="100">
                  <c:v>16</c:v>
                </c:pt>
                <c:pt idx="101">
                  <c:v>8</c:v>
                </c:pt>
                <c:pt idx="102">
                  <c:v>5</c:v>
                </c:pt>
                <c:pt idx="103">
                  <c:v>8</c:v>
                </c:pt>
                <c:pt idx="104">
                  <c:v>10</c:v>
                </c:pt>
                <c:pt idx="105">
                  <c:v>13</c:v>
                </c:pt>
                <c:pt idx="106">
                  <c:v>9</c:v>
                </c:pt>
                <c:pt idx="107">
                  <c:v>8</c:v>
                </c:pt>
                <c:pt idx="108">
                  <c:v>9</c:v>
                </c:pt>
                <c:pt idx="109">
                  <c:v>5</c:v>
                </c:pt>
                <c:pt idx="110">
                  <c:v>4</c:v>
                </c:pt>
                <c:pt idx="111">
                  <c:v>18</c:v>
                </c:pt>
                <c:pt idx="112">
                  <c:v>19</c:v>
                </c:pt>
                <c:pt idx="113">
                  <c:v>22</c:v>
                </c:pt>
                <c:pt idx="114">
                  <c:v>21</c:v>
                </c:pt>
                <c:pt idx="115">
                  <c:v>17</c:v>
                </c:pt>
                <c:pt idx="116">
                  <c:v>10</c:v>
                </c:pt>
                <c:pt idx="117">
                  <c:v>10</c:v>
                </c:pt>
                <c:pt idx="118">
                  <c:v>35</c:v>
                </c:pt>
                <c:pt idx="119">
                  <c:v>29</c:v>
                </c:pt>
                <c:pt idx="120">
                  <c:v>26</c:v>
                </c:pt>
                <c:pt idx="121">
                  <c:v>52</c:v>
                </c:pt>
                <c:pt idx="122">
                  <c:v>43</c:v>
                </c:pt>
                <c:pt idx="123">
                  <c:v>34</c:v>
                </c:pt>
                <c:pt idx="124">
                  <c:v>11</c:v>
                </c:pt>
                <c:pt idx="125">
                  <c:v>66</c:v>
                </c:pt>
                <c:pt idx="126">
                  <c:v>68</c:v>
                </c:pt>
                <c:pt idx="127">
                  <c:v>77</c:v>
                </c:pt>
                <c:pt idx="128">
                  <c:v>34</c:v>
                </c:pt>
                <c:pt idx="129">
                  <c:v>81</c:v>
                </c:pt>
                <c:pt idx="130">
                  <c:v>63</c:v>
                </c:pt>
                <c:pt idx="131">
                  <c:v>37</c:v>
                </c:pt>
                <c:pt idx="132">
                  <c:v>111</c:v>
                </c:pt>
                <c:pt idx="133">
                  <c:v>104</c:v>
                </c:pt>
                <c:pt idx="134">
                  <c:v>118</c:v>
                </c:pt>
                <c:pt idx="135">
                  <c:v>102</c:v>
                </c:pt>
                <c:pt idx="136">
                  <c:v>112</c:v>
                </c:pt>
                <c:pt idx="137">
                  <c:v>83</c:v>
                </c:pt>
                <c:pt idx="138">
                  <c:v>28</c:v>
                </c:pt>
                <c:pt idx="139">
                  <c:v>134</c:v>
                </c:pt>
                <c:pt idx="140">
                  <c:v>146</c:v>
                </c:pt>
                <c:pt idx="141">
                  <c:v>167</c:v>
                </c:pt>
                <c:pt idx="142">
                  <c:v>95</c:v>
                </c:pt>
                <c:pt idx="143">
                  <c:v>162</c:v>
                </c:pt>
                <c:pt idx="144">
                  <c:v>97</c:v>
                </c:pt>
                <c:pt idx="145">
                  <c:v>54</c:v>
                </c:pt>
                <c:pt idx="146">
                  <c:v>159</c:v>
                </c:pt>
                <c:pt idx="147">
                  <c:v>229</c:v>
                </c:pt>
                <c:pt idx="148">
                  <c:v>120</c:v>
                </c:pt>
                <c:pt idx="149">
                  <c:v>167</c:v>
                </c:pt>
                <c:pt idx="150">
                  <c:v>235</c:v>
                </c:pt>
                <c:pt idx="151">
                  <c:v>153</c:v>
                </c:pt>
                <c:pt idx="152">
                  <c:v>85</c:v>
                </c:pt>
                <c:pt idx="153">
                  <c:v>192</c:v>
                </c:pt>
                <c:pt idx="154">
                  <c:v>258</c:v>
                </c:pt>
                <c:pt idx="155">
                  <c:v>141</c:v>
                </c:pt>
                <c:pt idx="156">
                  <c:v>215</c:v>
                </c:pt>
                <c:pt idx="157">
                  <c:v>188</c:v>
                </c:pt>
                <c:pt idx="158">
                  <c:v>107</c:v>
                </c:pt>
                <c:pt idx="159">
                  <c:v>77</c:v>
                </c:pt>
                <c:pt idx="160">
                  <c:v>200</c:v>
                </c:pt>
                <c:pt idx="161">
                  <c:v>162</c:v>
                </c:pt>
                <c:pt idx="162">
                  <c:v>165</c:v>
                </c:pt>
                <c:pt idx="163">
                  <c:v>1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3F-4C94-8915-777191685E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O$1:$AB$1</c:f>
              <c:strCache>
                <c:ptCount val="14"/>
                <c:pt idx="0">
                  <c:v>27.08 - 02.09</c:v>
                </c:pt>
                <c:pt idx="1">
                  <c:v>03.09 - 09.09</c:v>
                </c:pt>
                <c:pt idx="2">
                  <c:v>10.09 - 16.09</c:v>
                </c:pt>
                <c:pt idx="3">
                  <c:v>17.09 - 23.09</c:v>
                </c:pt>
                <c:pt idx="4">
                  <c:v>24.09 - 30.09</c:v>
                </c:pt>
                <c:pt idx="5">
                  <c:v>01.10 - 07.10</c:v>
                </c:pt>
                <c:pt idx="6">
                  <c:v>08.10 - 14.10</c:v>
                </c:pt>
                <c:pt idx="7">
                  <c:v>15.10 - 21.10</c:v>
                </c:pt>
                <c:pt idx="8">
                  <c:v>22.10 - 28.10</c:v>
                </c:pt>
                <c:pt idx="9">
                  <c:v>29.10 - 04.11</c:v>
                </c:pt>
                <c:pt idx="10">
                  <c:v>05.11 - 11.11</c:v>
                </c:pt>
                <c:pt idx="11">
                  <c:v>12.11 - 18.11</c:v>
                </c:pt>
                <c:pt idx="12">
                  <c:v>19.11 - 25.11</c:v>
                </c:pt>
                <c:pt idx="13">
                  <c:v>26.11 - 02.12</c:v>
                </c:pt>
              </c:strCache>
            </c:strRef>
          </c:cat>
          <c:val>
            <c:numRef>
              <c:f>List1!$O$2:$AB$2</c:f>
              <c:numCache>
                <c:formatCode>General</c:formatCode>
                <c:ptCount val="14"/>
                <c:pt idx="0">
                  <c:v>10.1531146</c:v>
                </c:pt>
                <c:pt idx="1">
                  <c:v>14.2279371</c:v>
                </c:pt>
                <c:pt idx="2">
                  <c:v>32.077300600000001</c:v>
                </c:pt>
                <c:pt idx="3">
                  <c:v>40.607225499999998</c:v>
                </c:pt>
                <c:pt idx="4">
                  <c:v>56.131921200000001</c:v>
                </c:pt>
                <c:pt idx="5">
                  <c:v>107.6293514</c:v>
                </c:pt>
                <c:pt idx="6">
                  <c:v>216.85080550000001</c:v>
                </c:pt>
                <c:pt idx="7">
                  <c:v>359.4048702</c:v>
                </c:pt>
                <c:pt idx="8">
                  <c:v>448.57207110000002</c:v>
                </c:pt>
                <c:pt idx="9">
                  <c:v>383.90849830000002</c:v>
                </c:pt>
                <c:pt idx="10">
                  <c:v>250.93892980000001</c:v>
                </c:pt>
                <c:pt idx="11">
                  <c:v>179.93601960000001</c:v>
                </c:pt>
                <c:pt idx="12">
                  <c:v>169.5978763</c:v>
                </c:pt>
                <c:pt idx="13">
                  <c:v>133.7015452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4FA-4D94-A4CE-CDB0E0CDD4B1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O$1:$AB$1</c:f>
              <c:strCache>
                <c:ptCount val="14"/>
                <c:pt idx="0">
                  <c:v>27.08 - 02.09</c:v>
                </c:pt>
                <c:pt idx="1">
                  <c:v>03.09 - 09.09</c:v>
                </c:pt>
                <c:pt idx="2">
                  <c:v>10.09 - 16.09</c:v>
                </c:pt>
                <c:pt idx="3">
                  <c:v>17.09 - 23.09</c:v>
                </c:pt>
                <c:pt idx="4">
                  <c:v>24.09 - 30.09</c:v>
                </c:pt>
                <c:pt idx="5">
                  <c:v>01.10 - 07.10</c:v>
                </c:pt>
                <c:pt idx="6">
                  <c:v>08.10 - 14.10</c:v>
                </c:pt>
                <c:pt idx="7">
                  <c:v>15.10 - 21.10</c:v>
                </c:pt>
                <c:pt idx="8">
                  <c:v>22.10 - 28.10</c:v>
                </c:pt>
                <c:pt idx="9">
                  <c:v>29.10 - 04.11</c:v>
                </c:pt>
                <c:pt idx="10">
                  <c:v>05.11 - 11.11</c:v>
                </c:pt>
                <c:pt idx="11">
                  <c:v>12.11 - 18.11</c:v>
                </c:pt>
                <c:pt idx="12">
                  <c:v>19.11 - 25.11</c:v>
                </c:pt>
                <c:pt idx="13">
                  <c:v>26.11 - 02.12</c:v>
                </c:pt>
              </c:strCache>
            </c:strRef>
          </c:cat>
          <c:val>
            <c:numRef>
              <c:f>List1!$O$3:$AB$3</c:f>
              <c:numCache>
                <c:formatCode>General</c:formatCode>
                <c:ptCount val="14"/>
                <c:pt idx="0">
                  <c:v>1.6547341</c:v>
                </c:pt>
                <c:pt idx="1">
                  <c:v>2.7564041000000001</c:v>
                </c:pt>
                <c:pt idx="2">
                  <c:v>2.7542973000000002</c:v>
                </c:pt>
                <c:pt idx="3">
                  <c:v>5.0915375000000003</c:v>
                </c:pt>
                <c:pt idx="4">
                  <c:v>8.1127423000000007</c:v>
                </c:pt>
                <c:pt idx="5">
                  <c:v>8.1095754000000007</c:v>
                </c:pt>
                <c:pt idx="6">
                  <c:v>12.509020899999999</c:v>
                </c:pt>
                <c:pt idx="7">
                  <c:v>22.820535700000001</c:v>
                </c:pt>
                <c:pt idx="8">
                  <c:v>41.795271900000003</c:v>
                </c:pt>
                <c:pt idx="9">
                  <c:v>78.927032299999993</c:v>
                </c:pt>
                <c:pt idx="10">
                  <c:v>98.349110400000001</c:v>
                </c:pt>
                <c:pt idx="11">
                  <c:v>124.6666611</c:v>
                </c:pt>
                <c:pt idx="12">
                  <c:v>162.56603809999999</c:v>
                </c:pt>
                <c:pt idx="13">
                  <c:v>130.5486624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4FA-4D94-A4CE-CDB0E0CDD4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298</c:f>
              <c:numCache>
                <c:formatCode>m/d/yyyy</c:formatCode>
                <c:ptCount val="164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9</c:v>
                </c:pt>
                <c:pt idx="21">
                  <c:v>44390</c:v>
                </c:pt>
                <c:pt idx="22">
                  <c:v>44391</c:v>
                </c:pt>
                <c:pt idx="23">
                  <c:v>44392</c:v>
                </c:pt>
                <c:pt idx="24">
                  <c:v>44393</c:v>
                </c:pt>
                <c:pt idx="25">
                  <c:v>44394</c:v>
                </c:pt>
                <c:pt idx="26">
                  <c:v>44395</c:v>
                </c:pt>
                <c:pt idx="27">
                  <c:v>44396</c:v>
                </c:pt>
                <c:pt idx="28">
                  <c:v>44397</c:v>
                </c:pt>
                <c:pt idx="29">
                  <c:v>44398</c:v>
                </c:pt>
                <c:pt idx="30">
                  <c:v>44399</c:v>
                </c:pt>
                <c:pt idx="31">
                  <c:v>44400</c:v>
                </c:pt>
                <c:pt idx="32">
                  <c:v>44401</c:v>
                </c:pt>
                <c:pt idx="33">
                  <c:v>44402</c:v>
                </c:pt>
                <c:pt idx="34">
                  <c:v>44403</c:v>
                </c:pt>
                <c:pt idx="35">
                  <c:v>44404</c:v>
                </c:pt>
                <c:pt idx="36">
                  <c:v>44405</c:v>
                </c:pt>
                <c:pt idx="37">
                  <c:v>44406</c:v>
                </c:pt>
                <c:pt idx="38">
                  <c:v>44407</c:v>
                </c:pt>
                <c:pt idx="39">
                  <c:v>44408</c:v>
                </c:pt>
                <c:pt idx="40">
                  <c:v>44409</c:v>
                </c:pt>
                <c:pt idx="41">
                  <c:v>44410</c:v>
                </c:pt>
                <c:pt idx="42">
                  <c:v>44411</c:v>
                </c:pt>
                <c:pt idx="43">
                  <c:v>44412</c:v>
                </c:pt>
                <c:pt idx="44">
                  <c:v>44413</c:v>
                </c:pt>
                <c:pt idx="45">
                  <c:v>44414</c:v>
                </c:pt>
                <c:pt idx="46">
                  <c:v>44415</c:v>
                </c:pt>
                <c:pt idx="47">
                  <c:v>44416</c:v>
                </c:pt>
                <c:pt idx="48">
                  <c:v>44417</c:v>
                </c:pt>
                <c:pt idx="49">
                  <c:v>44418</c:v>
                </c:pt>
                <c:pt idx="50">
                  <c:v>44419</c:v>
                </c:pt>
                <c:pt idx="51">
                  <c:v>44420</c:v>
                </c:pt>
                <c:pt idx="52">
                  <c:v>44421</c:v>
                </c:pt>
                <c:pt idx="53">
                  <c:v>44422</c:v>
                </c:pt>
                <c:pt idx="54">
                  <c:v>44423</c:v>
                </c:pt>
                <c:pt idx="55">
                  <c:v>44424</c:v>
                </c:pt>
                <c:pt idx="56">
                  <c:v>44425</c:v>
                </c:pt>
                <c:pt idx="57">
                  <c:v>44426</c:v>
                </c:pt>
                <c:pt idx="58">
                  <c:v>44427</c:v>
                </c:pt>
                <c:pt idx="59">
                  <c:v>44428</c:v>
                </c:pt>
                <c:pt idx="60">
                  <c:v>44429</c:v>
                </c:pt>
                <c:pt idx="61">
                  <c:v>44430</c:v>
                </c:pt>
                <c:pt idx="62">
                  <c:v>44431</c:v>
                </c:pt>
                <c:pt idx="63">
                  <c:v>44432</c:v>
                </c:pt>
                <c:pt idx="64">
                  <c:v>44433</c:v>
                </c:pt>
                <c:pt idx="65">
                  <c:v>44434</c:v>
                </c:pt>
                <c:pt idx="66">
                  <c:v>44435</c:v>
                </c:pt>
                <c:pt idx="67">
                  <c:v>44436</c:v>
                </c:pt>
                <c:pt idx="68">
                  <c:v>44437</c:v>
                </c:pt>
                <c:pt idx="69">
                  <c:v>44438</c:v>
                </c:pt>
                <c:pt idx="70">
                  <c:v>44439</c:v>
                </c:pt>
                <c:pt idx="71">
                  <c:v>44440</c:v>
                </c:pt>
                <c:pt idx="72">
                  <c:v>44441</c:v>
                </c:pt>
                <c:pt idx="73">
                  <c:v>44442</c:v>
                </c:pt>
                <c:pt idx="74">
                  <c:v>44443</c:v>
                </c:pt>
                <c:pt idx="75">
                  <c:v>44444</c:v>
                </c:pt>
                <c:pt idx="76">
                  <c:v>44445</c:v>
                </c:pt>
                <c:pt idx="77">
                  <c:v>44446</c:v>
                </c:pt>
                <c:pt idx="78">
                  <c:v>44447</c:v>
                </c:pt>
                <c:pt idx="79">
                  <c:v>44448</c:v>
                </c:pt>
                <c:pt idx="80">
                  <c:v>44449</c:v>
                </c:pt>
                <c:pt idx="81">
                  <c:v>44450</c:v>
                </c:pt>
                <c:pt idx="82">
                  <c:v>44451</c:v>
                </c:pt>
                <c:pt idx="83">
                  <c:v>44452</c:v>
                </c:pt>
                <c:pt idx="84">
                  <c:v>44453</c:v>
                </c:pt>
                <c:pt idx="85">
                  <c:v>44454</c:v>
                </c:pt>
                <c:pt idx="86">
                  <c:v>44455</c:v>
                </c:pt>
                <c:pt idx="87">
                  <c:v>44456</c:v>
                </c:pt>
                <c:pt idx="88">
                  <c:v>44457</c:v>
                </c:pt>
                <c:pt idx="89">
                  <c:v>44458</c:v>
                </c:pt>
                <c:pt idx="90">
                  <c:v>44459</c:v>
                </c:pt>
                <c:pt idx="91">
                  <c:v>44460</c:v>
                </c:pt>
                <c:pt idx="92">
                  <c:v>44461</c:v>
                </c:pt>
                <c:pt idx="93">
                  <c:v>44462</c:v>
                </c:pt>
                <c:pt idx="94">
                  <c:v>44463</c:v>
                </c:pt>
                <c:pt idx="95">
                  <c:v>44464</c:v>
                </c:pt>
                <c:pt idx="96">
                  <c:v>44465</c:v>
                </c:pt>
                <c:pt idx="97">
                  <c:v>44466</c:v>
                </c:pt>
                <c:pt idx="98">
                  <c:v>44467</c:v>
                </c:pt>
                <c:pt idx="99">
                  <c:v>44468</c:v>
                </c:pt>
                <c:pt idx="100">
                  <c:v>44469</c:v>
                </c:pt>
                <c:pt idx="101">
                  <c:v>44470</c:v>
                </c:pt>
                <c:pt idx="102">
                  <c:v>44471</c:v>
                </c:pt>
                <c:pt idx="103">
                  <c:v>44472</c:v>
                </c:pt>
                <c:pt idx="104">
                  <c:v>44473</c:v>
                </c:pt>
                <c:pt idx="105">
                  <c:v>44474</c:v>
                </c:pt>
                <c:pt idx="106">
                  <c:v>44475</c:v>
                </c:pt>
                <c:pt idx="107">
                  <c:v>44476</c:v>
                </c:pt>
                <c:pt idx="108">
                  <c:v>44477</c:v>
                </c:pt>
                <c:pt idx="109">
                  <c:v>44478</c:v>
                </c:pt>
                <c:pt idx="110">
                  <c:v>44479</c:v>
                </c:pt>
                <c:pt idx="111">
                  <c:v>44480</c:v>
                </c:pt>
                <c:pt idx="112">
                  <c:v>44481</c:v>
                </c:pt>
                <c:pt idx="113">
                  <c:v>44482</c:v>
                </c:pt>
                <c:pt idx="114">
                  <c:v>44483</c:v>
                </c:pt>
                <c:pt idx="115">
                  <c:v>44484</c:v>
                </c:pt>
                <c:pt idx="116">
                  <c:v>44485</c:v>
                </c:pt>
                <c:pt idx="117">
                  <c:v>44486</c:v>
                </c:pt>
                <c:pt idx="118">
                  <c:v>44487</c:v>
                </c:pt>
                <c:pt idx="119">
                  <c:v>44488</c:v>
                </c:pt>
                <c:pt idx="120">
                  <c:v>44489</c:v>
                </c:pt>
                <c:pt idx="121">
                  <c:v>44490</c:v>
                </c:pt>
                <c:pt idx="122">
                  <c:v>44491</c:v>
                </c:pt>
                <c:pt idx="123">
                  <c:v>44492</c:v>
                </c:pt>
                <c:pt idx="124">
                  <c:v>44493</c:v>
                </c:pt>
                <c:pt idx="125">
                  <c:v>44494</c:v>
                </c:pt>
                <c:pt idx="126">
                  <c:v>44495</c:v>
                </c:pt>
                <c:pt idx="127">
                  <c:v>44496</c:v>
                </c:pt>
                <c:pt idx="128">
                  <c:v>44497</c:v>
                </c:pt>
                <c:pt idx="129">
                  <c:v>44498</c:v>
                </c:pt>
                <c:pt idx="130">
                  <c:v>44499</c:v>
                </c:pt>
                <c:pt idx="131">
                  <c:v>44500</c:v>
                </c:pt>
                <c:pt idx="132">
                  <c:v>44501</c:v>
                </c:pt>
                <c:pt idx="133">
                  <c:v>44502</c:v>
                </c:pt>
                <c:pt idx="134">
                  <c:v>44503</c:v>
                </c:pt>
                <c:pt idx="135">
                  <c:v>44504</c:v>
                </c:pt>
                <c:pt idx="136">
                  <c:v>44505</c:v>
                </c:pt>
                <c:pt idx="137">
                  <c:v>44506</c:v>
                </c:pt>
                <c:pt idx="138">
                  <c:v>44507</c:v>
                </c:pt>
                <c:pt idx="139">
                  <c:v>44508</c:v>
                </c:pt>
                <c:pt idx="140">
                  <c:v>44509</c:v>
                </c:pt>
                <c:pt idx="141">
                  <c:v>44510</c:v>
                </c:pt>
                <c:pt idx="142">
                  <c:v>44511</c:v>
                </c:pt>
                <c:pt idx="143">
                  <c:v>44512</c:v>
                </c:pt>
                <c:pt idx="144">
                  <c:v>44513</c:v>
                </c:pt>
                <c:pt idx="145">
                  <c:v>44514</c:v>
                </c:pt>
                <c:pt idx="146">
                  <c:v>44515</c:v>
                </c:pt>
                <c:pt idx="147">
                  <c:v>44516</c:v>
                </c:pt>
                <c:pt idx="148">
                  <c:v>44517</c:v>
                </c:pt>
                <c:pt idx="149">
                  <c:v>44518</c:v>
                </c:pt>
                <c:pt idx="150">
                  <c:v>44519</c:v>
                </c:pt>
                <c:pt idx="151">
                  <c:v>44520</c:v>
                </c:pt>
                <c:pt idx="152">
                  <c:v>44521</c:v>
                </c:pt>
                <c:pt idx="153">
                  <c:v>44522</c:v>
                </c:pt>
                <c:pt idx="154">
                  <c:v>44523</c:v>
                </c:pt>
                <c:pt idx="155">
                  <c:v>44524</c:v>
                </c:pt>
                <c:pt idx="156">
                  <c:v>44525</c:v>
                </c:pt>
                <c:pt idx="157">
                  <c:v>44526</c:v>
                </c:pt>
                <c:pt idx="158">
                  <c:v>44527</c:v>
                </c:pt>
                <c:pt idx="159">
                  <c:v>44528</c:v>
                </c:pt>
                <c:pt idx="160">
                  <c:v>44529</c:v>
                </c:pt>
                <c:pt idx="161">
                  <c:v>44530</c:v>
                </c:pt>
                <c:pt idx="162">
                  <c:v>44531</c:v>
                </c:pt>
                <c:pt idx="163">
                  <c:v>44532</c:v>
                </c:pt>
              </c:numCache>
            </c:numRef>
          </c:cat>
          <c:val>
            <c:numRef>
              <c:f>Sheet1!$B$135:$B$298</c:f>
              <c:numCache>
                <c:formatCode>General</c:formatCode>
                <c:ptCount val="164"/>
                <c:pt idx="0">
                  <c:v>2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2</c:v>
                </c:pt>
                <c:pt idx="7">
                  <c:v>1</c:v>
                </c:pt>
                <c:pt idx="8">
                  <c:v>2</c:v>
                </c:pt>
                <c:pt idx="9">
                  <c:v>0</c:v>
                </c:pt>
                <c:pt idx="10">
                  <c:v>1</c:v>
                </c:pt>
                <c:pt idx="11">
                  <c:v>0</c:v>
                </c:pt>
                <c:pt idx="12">
                  <c:v>2</c:v>
                </c:pt>
                <c:pt idx="13">
                  <c:v>0</c:v>
                </c:pt>
                <c:pt idx="14">
                  <c:v>0</c:v>
                </c:pt>
                <c:pt idx="15">
                  <c:v>1</c:v>
                </c:pt>
                <c:pt idx="16">
                  <c:v>1</c:v>
                </c:pt>
                <c:pt idx="17">
                  <c:v>4</c:v>
                </c:pt>
                <c:pt idx="18">
                  <c:v>4</c:v>
                </c:pt>
                <c:pt idx="19">
                  <c:v>0</c:v>
                </c:pt>
                <c:pt idx="20">
                  <c:v>3</c:v>
                </c:pt>
                <c:pt idx="21">
                  <c:v>0</c:v>
                </c:pt>
                <c:pt idx="22">
                  <c:v>4</c:v>
                </c:pt>
                <c:pt idx="23">
                  <c:v>2</c:v>
                </c:pt>
                <c:pt idx="24">
                  <c:v>5</c:v>
                </c:pt>
                <c:pt idx="25">
                  <c:v>1</c:v>
                </c:pt>
                <c:pt idx="26">
                  <c:v>1</c:v>
                </c:pt>
                <c:pt idx="27">
                  <c:v>3</c:v>
                </c:pt>
                <c:pt idx="28">
                  <c:v>5</c:v>
                </c:pt>
                <c:pt idx="29">
                  <c:v>1</c:v>
                </c:pt>
                <c:pt idx="30">
                  <c:v>3</c:v>
                </c:pt>
                <c:pt idx="31">
                  <c:v>2</c:v>
                </c:pt>
                <c:pt idx="32">
                  <c:v>0</c:v>
                </c:pt>
                <c:pt idx="33">
                  <c:v>1</c:v>
                </c:pt>
                <c:pt idx="34">
                  <c:v>3</c:v>
                </c:pt>
                <c:pt idx="35">
                  <c:v>4</c:v>
                </c:pt>
                <c:pt idx="36">
                  <c:v>1</c:v>
                </c:pt>
                <c:pt idx="37">
                  <c:v>4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2</c:v>
                </c:pt>
                <c:pt idx="42">
                  <c:v>4</c:v>
                </c:pt>
                <c:pt idx="43">
                  <c:v>3</c:v>
                </c:pt>
                <c:pt idx="44">
                  <c:v>1</c:v>
                </c:pt>
                <c:pt idx="45">
                  <c:v>3</c:v>
                </c:pt>
                <c:pt idx="46">
                  <c:v>1</c:v>
                </c:pt>
                <c:pt idx="47">
                  <c:v>0</c:v>
                </c:pt>
                <c:pt idx="48">
                  <c:v>8</c:v>
                </c:pt>
                <c:pt idx="49">
                  <c:v>1</c:v>
                </c:pt>
                <c:pt idx="50">
                  <c:v>1</c:v>
                </c:pt>
                <c:pt idx="51">
                  <c:v>2</c:v>
                </c:pt>
                <c:pt idx="52">
                  <c:v>6</c:v>
                </c:pt>
                <c:pt idx="53">
                  <c:v>2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0</c:v>
                </c:pt>
                <c:pt idx="59">
                  <c:v>3</c:v>
                </c:pt>
                <c:pt idx="60">
                  <c:v>2</c:v>
                </c:pt>
                <c:pt idx="61">
                  <c:v>2</c:v>
                </c:pt>
                <c:pt idx="62">
                  <c:v>1</c:v>
                </c:pt>
                <c:pt idx="63">
                  <c:v>3</c:v>
                </c:pt>
                <c:pt idx="64">
                  <c:v>5</c:v>
                </c:pt>
                <c:pt idx="65">
                  <c:v>2</c:v>
                </c:pt>
                <c:pt idx="66">
                  <c:v>2</c:v>
                </c:pt>
                <c:pt idx="67">
                  <c:v>0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2</c:v>
                </c:pt>
                <c:pt idx="72">
                  <c:v>5</c:v>
                </c:pt>
                <c:pt idx="73">
                  <c:v>6</c:v>
                </c:pt>
                <c:pt idx="74">
                  <c:v>5</c:v>
                </c:pt>
                <c:pt idx="75">
                  <c:v>1</c:v>
                </c:pt>
                <c:pt idx="76">
                  <c:v>5</c:v>
                </c:pt>
                <c:pt idx="77">
                  <c:v>4</c:v>
                </c:pt>
                <c:pt idx="78">
                  <c:v>1</c:v>
                </c:pt>
                <c:pt idx="79">
                  <c:v>3</c:v>
                </c:pt>
                <c:pt idx="80">
                  <c:v>2</c:v>
                </c:pt>
                <c:pt idx="81">
                  <c:v>0</c:v>
                </c:pt>
                <c:pt idx="82">
                  <c:v>3</c:v>
                </c:pt>
                <c:pt idx="83">
                  <c:v>2</c:v>
                </c:pt>
                <c:pt idx="84">
                  <c:v>3</c:v>
                </c:pt>
                <c:pt idx="85">
                  <c:v>5</c:v>
                </c:pt>
                <c:pt idx="86">
                  <c:v>7</c:v>
                </c:pt>
                <c:pt idx="87">
                  <c:v>4</c:v>
                </c:pt>
                <c:pt idx="88">
                  <c:v>2</c:v>
                </c:pt>
                <c:pt idx="89">
                  <c:v>6</c:v>
                </c:pt>
                <c:pt idx="90">
                  <c:v>8</c:v>
                </c:pt>
                <c:pt idx="91">
                  <c:v>9</c:v>
                </c:pt>
                <c:pt idx="92">
                  <c:v>8</c:v>
                </c:pt>
                <c:pt idx="93">
                  <c:v>7</c:v>
                </c:pt>
                <c:pt idx="94">
                  <c:v>5</c:v>
                </c:pt>
                <c:pt idx="95">
                  <c:v>4</c:v>
                </c:pt>
                <c:pt idx="96">
                  <c:v>2</c:v>
                </c:pt>
                <c:pt idx="97">
                  <c:v>7</c:v>
                </c:pt>
                <c:pt idx="98">
                  <c:v>6</c:v>
                </c:pt>
                <c:pt idx="99">
                  <c:v>9</c:v>
                </c:pt>
                <c:pt idx="100">
                  <c:v>12</c:v>
                </c:pt>
                <c:pt idx="101">
                  <c:v>11</c:v>
                </c:pt>
                <c:pt idx="102">
                  <c:v>4</c:v>
                </c:pt>
                <c:pt idx="103">
                  <c:v>7</c:v>
                </c:pt>
                <c:pt idx="104">
                  <c:v>9</c:v>
                </c:pt>
                <c:pt idx="105">
                  <c:v>13</c:v>
                </c:pt>
                <c:pt idx="106">
                  <c:v>13</c:v>
                </c:pt>
                <c:pt idx="107">
                  <c:v>16</c:v>
                </c:pt>
                <c:pt idx="108">
                  <c:v>10</c:v>
                </c:pt>
                <c:pt idx="109">
                  <c:v>8</c:v>
                </c:pt>
                <c:pt idx="110">
                  <c:v>5</c:v>
                </c:pt>
                <c:pt idx="111">
                  <c:v>19</c:v>
                </c:pt>
                <c:pt idx="112">
                  <c:v>31</c:v>
                </c:pt>
                <c:pt idx="113">
                  <c:v>18</c:v>
                </c:pt>
                <c:pt idx="114">
                  <c:v>19</c:v>
                </c:pt>
                <c:pt idx="115">
                  <c:v>14</c:v>
                </c:pt>
                <c:pt idx="116">
                  <c:v>9</c:v>
                </c:pt>
                <c:pt idx="117">
                  <c:v>13</c:v>
                </c:pt>
                <c:pt idx="118">
                  <c:v>39</c:v>
                </c:pt>
                <c:pt idx="119">
                  <c:v>55</c:v>
                </c:pt>
                <c:pt idx="120">
                  <c:v>50</c:v>
                </c:pt>
                <c:pt idx="121">
                  <c:v>54</c:v>
                </c:pt>
                <c:pt idx="122">
                  <c:v>46</c:v>
                </c:pt>
                <c:pt idx="123">
                  <c:v>28</c:v>
                </c:pt>
                <c:pt idx="124">
                  <c:v>21</c:v>
                </c:pt>
                <c:pt idx="125">
                  <c:v>80</c:v>
                </c:pt>
                <c:pt idx="126">
                  <c:v>86</c:v>
                </c:pt>
                <c:pt idx="127">
                  <c:v>64</c:v>
                </c:pt>
                <c:pt idx="128">
                  <c:v>41</c:v>
                </c:pt>
                <c:pt idx="129">
                  <c:v>82</c:v>
                </c:pt>
                <c:pt idx="130">
                  <c:v>54</c:v>
                </c:pt>
                <c:pt idx="131">
                  <c:v>42</c:v>
                </c:pt>
                <c:pt idx="132">
                  <c:v>135</c:v>
                </c:pt>
                <c:pt idx="133">
                  <c:v>129</c:v>
                </c:pt>
                <c:pt idx="134">
                  <c:v>105</c:v>
                </c:pt>
                <c:pt idx="135">
                  <c:v>115</c:v>
                </c:pt>
                <c:pt idx="136">
                  <c:v>132</c:v>
                </c:pt>
                <c:pt idx="137">
                  <c:v>55</c:v>
                </c:pt>
                <c:pt idx="138">
                  <c:v>39</c:v>
                </c:pt>
                <c:pt idx="139">
                  <c:v>129</c:v>
                </c:pt>
                <c:pt idx="140">
                  <c:v>149</c:v>
                </c:pt>
                <c:pt idx="141">
                  <c:v>143</c:v>
                </c:pt>
                <c:pt idx="142">
                  <c:v>121</c:v>
                </c:pt>
                <c:pt idx="143">
                  <c:v>170</c:v>
                </c:pt>
                <c:pt idx="144">
                  <c:v>96</c:v>
                </c:pt>
                <c:pt idx="145">
                  <c:v>53</c:v>
                </c:pt>
                <c:pt idx="146">
                  <c:v>166</c:v>
                </c:pt>
                <c:pt idx="147">
                  <c:v>199</c:v>
                </c:pt>
                <c:pt idx="148">
                  <c:v>140</c:v>
                </c:pt>
                <c:pt idx="149">
                  <c:v>165</c:v>
                </c:pt>
                <c:pt idx="150">
                  <c:v>253</c:v>
                </c:pt>
                <c:pt idx="151">
                  <c:v>125</c:v>
                </c:pt>
                <c:pt idx="152">
                  <c:v>90</c:v>
                </c:pt>
                <c:pt idx="153">
                  <c:v>203</c:v>
                </c:pt>
                <c:pt idx="154">
                  <c:v>215</c:v>
                </c:pt>
                <c:pt idx="155">
                  <c:v>182</c:v>
                </c:pt>
                <c:pt idx="156">
                  <c:v>259</c:v>
                </c:pt>
                <c:pt idx="157">
                  <c:v>156</c:v>
                </c:pt>
                <c:pt idx="158">
                  <c:v>117</c:v>
                </c:pt>
                <c:pt idx="159">
                  <c:v>82</c:v>
                </c:pt>
                <c:pt idx="160">
                  <c:v>202</c:v>
                </c:pt>
                <c:pt idx="161">
                  <c:v>171</c:v>
                </c:pt>
                <c:pt idx="162">
                  <c:v>161</c:v>
                </c:pt>
                <c:pt idx="163">
                  <c:v>1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3F-4C94-8915-777191685E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O$1:$AB$1</c:f>
              <c:strCache>
                <c:ptCount val="14"/>
                <c:pt idx="0">
                  <c:v>27.08 - 02.09</c:v>
                </c:pt>
                <c:pt idx="1">
                  <c:v>03.09 - 09.09</c:v>
                </c:pt>
                <c:pt idx="2">
                  <c:v>10.09 - 16.09</c:v>
                </c:pt>
                <c:pt idx="3">
                  <c:v>17.09 - 23.09</c:v>
                </c:pt>
                <c:pt idx="4">
                  <c:v>24.09 - 30.09</c:v>
                </c:pt>
                <c:pt idx="5">
                  <c:v>01.10 - 07.10</c:v>
                </c:pt>
                <c:pt idx="6">
                  <c:v>08.10 - 14.10</c:v>
                </c:pt>
                <c:pt idx="7">
                  <c:v>15.10 - 21.10</c:v>
                </c:pt>
                <c:pt idx="8">
                  <c:v>22.10 - 28.10</c:v>
                </c:pt>
                <c:pt idx="9">
                  <c:v>29.10 - 04.11</c:v>
                </c:pt>
                <c:pt idx="10">
                  <c:v>05.11 - 11.11</c:v>
                </c:pt>
                <c:pt idx="11">
                  <c:v>12.11 - 18.11</c:v>
                </c:pt>
                <c:pt idx="12">
                  <c:v>19.11 - 25.11</c:v>
                </c:pt>
                <c:pt idx="13">
                  <c:v>26.11 - 02.12</c:v>
                </c:pt>
              </c:strCache>
            </c:strRef>
          </c:cat>
          <c:val>
            <c:numRef>
              <c:f>List1!$O$2:$AB$2</c:f>
              <c:numCache>
                <c:formatCode>General</c:formatCode>
                <c:ptCount val="14"/>
                <c:pt idx="0">
                  <c:v>5.6335761</c:v>
                </c:pt>
                <c:pt idx="1">
                  <c:v>17.523805800000002</c:v>
                </c:pt>
                <c:pt idx="2">
                  <c:v>32.269509800000002</c:v>
                </c:pt>
                <c:pt idx="3">
                  <c:v>43.928066899999997</c:v>
                </c:pt>
                <c:pt idx="4">
                  <c:v>52.672446200000003</c:v>
                </c:pt>
                <c:pt idx="5">
                  <c:v>112.52783220000001</c:v>
                </c:pt>
                <c:pt idx="6">
                  <c:v>193.92867570000001</c:v>
                </c:pt>
                <c:pt idx="7">
                  <c:v>344.42912580000001</c:v>
                </c:pt>
                <c:pt idx="8">
                  <c:v>394.23151910000001</c:v>
                </c:pt>
                <c:pt idx="9">
                  <c:v>347.55590990000002</c:v>
                </c:pt>
                <c:pt idx="10">
                  <c:v>228.4958359</c:v>
                </c:pt>
                <c:pt idx="11">
                  <c:v>156.03353300000001</c:v>
                </c:pt>
                <c:pt idx="12">
                  <c:v>129.0427913</c:v>
                </c:pt>
                <c:pt idx="13">
                  <c:v>108.198372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8F6-4753-91BA-05F66EF54DB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O$1:$AB$1</c:f>
              <c:strCache>
                <c:ptCount val="14"/>
                <c:pt idx="0">
                  <c:v>27.08 - 02.09</c:v>
                </c:pt>
                <c:pt idx="1">
                  <c:v>03.09 - 09.09</c:v>
                </c:pt>
                <c:pt idx="2">
                  <c:v>10.09 - 16.09</c:v>
                </c:pt>
                <c:pt idx="3">
                  <c:v>17.09 - 23.09</c:v>
                </c:pt>
                <c:pt idx="4">
                  <c:v>24.09 - 30.09</c:v>
                </c:pt>
                <c:pt idx="5">
                  <c:v>01.10 - 07.10</c:v>
                </c:pt>
                <c:pt idx="6">
                  <c:v>08.10 - 14.10</c:v>
                </c:pt>
                <c:pt idx="7">
                  <c:v>15.10 - 21.10</c:v>
                </c:pt>
                <c:pt idx="8">
                  <c:v>22.10 - 28.10</c:v>
                </c:pt>
                <c:pt idx="9">
                  <c:v>29.10 - 04.11</c:v>
                </c:pt>
                <c:pt idx="10">
                  <c:v>05.11 - 11.11</c:v>
                </c:pt>
                <c:pt idx="11">
                  <c:v>12.11 - 18.11</c:v>
                </c:pt>
                <c:pt idx="12">
                  <c:v>19.11 - 25.11</c:v>
                </c:pt>
                <c:pt idx="13">
                  <c:v>26.11 - 02.12</c:v>
                </c:pt>
              </c:strCache>
            </c:strRef>
          </c:cat>
          <c:val>
            <c:numRef>
              <c:f>List1!$O$3:$AB$3</c:f>
              <c:numCache>
                <c:formatCode>General</c:formatCode>
                <c:ptCount val="14"/>
                <c:pt idx="0">
                  <c:v>1.6895757</c:v>
                </c:pt>
                <c:pt idx="1">
                  <c:v>3.8419808</c:v>
                </c:pt>
                <c:pt idx="2">
                  <c:v>3.3822166</c:v>
                </c:pt>
                <c:pt idx="3">
                  <c:v>6.3055969000000003</c:v>
                </c:pt>
                <c:pt idx="4">
                  <c:v>6.6156797000000003</c:v>
                </c:pt>
                <c:pt idx="5">
                  <c:v>10.315341500000001</c:v>
                </c:pt>
                <c:pt idx="6">
                  <c:v>16.025517499999999</c:v>
                </c:pt>
                <c:pt idx="7">
                  <c:v>35.162828500000003</c:v>
                </c:pt>
                <c:pt idx="8">
                  <c:v>53.097973400000001</c:v>
                </c:pt>
                <c:pt idx="9">
                  <c:v>97.645839100000003</c:v>
                </c:pt>
                <c:pt idx="10">
                  <c:v>113.4037684</c:v>
                </c:pt>
                <c:pt idx="11">
                  <c:v>145.4751646</c:v>
                </c:pt>
                <c:pt idx="12">
                  <c:v>193.77018760000001</c:v>
                </c:pt>
                <c:pt idx="13">
                  <c:v>144.9532048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8F6-4753-91BA-05F66EF54D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298</c:f>
              <c:numCache>
                <c:formatCode>m/d/yyyy</c:formatCode>
                <c:ptCount val="164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9</c:v>
                </c:pt>
                <c:pt idx="21">
                  <c:v>44390</c:v>
                </c:pt>
                <c:pt idx="22">
                  <c:v>44391</c:v>
                </c:pt>
                <c:pt idx="23">
                  <c:v>44392</c:v>
                </c:pt>
                <c:pt idx="24">
                  <c:v>44393</c:v>
                </c:pt>
                <c:pt idx="25">
                  <c:v>44394</c:v>
                </c:pt>
                <c:pt idx="26">
                  <c:v>44395</c:v>
                </c:pt>
                <c:pt idx="27">
                  <c:v>44396</c:v>
                </c:pt>
                <c:pt idx="28">
                  <c:v>44397</c:v>
                </c:pt>
                <c:pt idx="29">
                  <c:v>44398</c:v>
                </c:pt>
                <c:pt idx="30">
                  <c:v>44399</c:v>
                </c:pt>
                <c:pt idx="31">
                  <c:v>44400</c:v>
                </c:pt>
                <c:pt idx="32">
                  <c:v>44401</c:v>
                </c:pt>
                <c:pt idx="33">
                  <c:v>44402</c:v>
                </c:pt>
                <c:pt idx="34">
                  <c:v>44403</c:v>
                </c:pt>
                <c:pt idx="35">
                  <c:v>44404</c:v>
                </c:pt>
                <c:pt idx="36">
                  <c:v>44405</c:v>
                </c:pt>
                <c:pt idx="37">
                  <c:v>44406</c:v>
                </c:pt>
                <c:pt idx="38">
                  <c:v>44407</c:v>
                </c:pt>
                <c:pt idx="39">
                  <c:v>44408</c:v>
                </c:pt>
                <c:pt idx="40">
                  <c:v>44409</c:v>
                </c:pt>
                <c:pt idx="41">
                  <c:v>44410</c:v>
                </c:pt>
                <c:pt idx="42">
                  <c:v>44411</c:v>
                </c:pt>
                <c:pt idx="43">
                  <c:v>44412</c:v>
                </c:pt>
                <c:pt idx="44">
                  <c:v>44413</c:v>
                </c:pt>
                <c:pt idx="45">
                  <c:v>44414</c:v>
                </c:pt>
                <c:pt idx="46">
                  <c:v>44415</c:v>
                </c:pt>
                <c:pt idx="47">
                  <c:v>44416</c:v>
                </c:pt>
                <c:pt idx="48">
                  <c:v>44417</c:v>
                </c:pt>
                <c:pt idx="49">
                  <c:v>44418</c:v>
                </c:pt>
                <c:pt idx="50">
                  <c:v>44419</c:v>
                </c:pt>
                <c:pt idx="51">
                  <c:v>44420</c:v>
                </c:pt>
                <c:pt idx="52">
                  <c:v>44421</c:v>
                </c:pt>
                <c:pt idx="53">
                  <c:v>44422</c:v>
                </c:pt>
                <c:pt idx="54">
                  <c:v>44423</c:v>
                </c:pt>
                <c:pt idx="55">
                  <c:v>44424</c:v>
                </c:pt>
                <c:pt idx="56">
                  <c:v>44425</c:v>
                </c:pt>
                <c:pt idx="57">
                  <c:v>44426</c:v>
                </c:pt>
                <c:pt idx="58">
                  <c:v>44427</c:v>
                </c:pt>
                <c:pt idx="59">
                  <c:v>44428</c:v>
                </c:pt>
                <c:pt idx="60">
                  <c:v>44429</c:v>
                </c:pt>
                <c:pt idx="61">
                  <c:v>44430</c:v>
                </c:pt>
                <c:pt idx="62">
                  <c:v>44431</c:v>
                </c:pt>
                <c:pt idx="63">
                  <c:v>44432</c:v>
                </c:pt>
                <c:pt idx="64">
                  <c:v>44433</c:v>
                </c:pt>
                <c:pt idx="65">
                  <c:v>44434</c:v>
                </c:pt>
                <c:pt idx="66">
                  <c:v>44435</c:v>
                </c:pt>
                <c:pt idx="67">
                  <c:v>44436</c:v>
                </c:pt>
                <c:pt idx="68">
                  <c:v>44437</c:v>
                </c:pt>
                <c:pt idx="69">
                  <c:v>44438</c:v>
                </c:pt>
                <c:pt idx="70">
                  <c:v>44439</c:v>
                </c:pt>
                <c:pt idx="71">
                  <c:v>44440</c:v>
                </c:pt>
                <c:pt idx="72">
                  <c:v>44441</c:v>
                </c:pt>
                <c:pt idx="73">
                  <c:v>44442</c:v>
                </c:pt>
                <c:pt idx="74">
                  <c:v>44443</c:v>
                </c:pt>
                <c:pt idx="75">
                  <c:v>44444</c:v>
                </c:pt>
                <c:pt idx="76">
                  <c:v>44445</c:v>
                </c:pt>
                <c:pt idx="77">
                  <c:v>44446</c:v>
                </c:pt>
                <c:pt idx="78">
                  <c:v>44447</c:v>
                </c:pt>
                <c:pt idx="79">
                  <c:v>44448</c:v>
                </c:pt>
                <c:pt idx="80">
                  <c:v>44449</c:v>
                </c:pt>
                <c:pt idx="81">
                  <c:v>44450</c:v>
                </c:pt>
                <c:pt idx="82">
                  <c:v>44451</c:v>
                </c:pt>
                <c:pt idx="83">
                  <c:v>44452</c:v>
                </c:pt>
                <c:pt idx="84">
                  <c:v>44453</c:v>
                </c:pt>
                <c:pt idx="85">
                  <c:v>44454</c:v>
                </c:pt>
                <c:pt idx="86">
                  <c:v>44455</c:v>
                </c:pt>
                <c:pt idx="87">
                  <c:v>44456</c:v>
                </c:pt>
                <c:pt idx="88">
                  <c:v>44457</c:v>
                </c:pt>
                <c:pt idx="89">
                  <c:v>44458</c:v>
                </c:pt>
                <c:pt idx="90">
                  <c:v>44459</c:v>
                </c:pt>
                <c:pt idx="91">
                  <c:v>44460</c:v>
                </c:pt>
                <c:pt idx="92">
                  <c:v>44461</c:v>
                </c:pt>
                <c:pt idx="93">
                  <c:v>44462</c:v>
                </c:pt>
                <c:pt idx="94">
                  <c:v>44463</c:v>
                </c:pt>
                <c:pt idx="95">
                  <c:v>44464</c:v>
                </c:pt>
                <c:pt idx="96">
                  <c:v>44465</c:v>
                </c:pt>
                <c:pt idx="97">
                  <c:v>44466</c:v>
                </c:pt>
                <c:pt idx="98">
                  <c:v>44467</c:v>
                </c:pt>
                <c:pt idx="99">
                  <c:v>44468</c:v>
                </c:pt>
                <c:pt idx="100">
                  <c:v>44469</c:v>
                </c:pt>
                <c:pt idx="101">
                  <c:v>44470</c:v>
                </c:pt>
                <c:pt idx="102">
                  <c:v>44471</c:v>
                </c:pt>
                <c:pt idx="103">
                  <c:v>44472</c:v>
                </c:pt>
                <c:pt idx="104">
                  <c:v>44473</c:v>
                </c:pt>
                <c:pt idx="105">
                  <c:v>44474</c:v>
                </c:pt>
                <c:pt idx="106">
                  <c:v>44475</c:v>
                </c:pt>
                <c:pt idx="107">
                  <c:v>44476</c:v>
                </c:pt>
                <c:pt idx="108">
                  <c:v>44477</c:v>
                </c:pt>
                <c:pt idx="109">
                  <c:v>44478</c:v>
                </c:pt>
                <c:pt idx="110">
                  <c:v>44479</c:v>
                </c:pt>
                <c:pt idx="111">
                  <c:v>44480</c:v>
                </c:pt>
                <c:pt idx="112">
                  <c:v>44481</c:v>
                </c:pt>
                <c:pt idx="113">
                  <c:v>44482</c:v>
                </c:pt>
                <c:pt idx="114">
                  <c:v>44483</c:v>
                </c:pt>
                <c:pt idx="115">
                  <c:v>44484</c:v>
                </c:pt>
                <c:pt idx="116">
                  <c:v>44485</c:v>
                </c:pt>
                <c:pt idx="117">
                  <c:v>44486</c:v>
                </c:pt>
                <c:pt idx="118">
                  <c:v>44487</c:v>
                </c:pt>
                <c:pt idx="119">
                  <c:v>44488</c:v>
                </c:pt>
                <c:pt idx="120">
                  <c:v>44489</c:v>
                </c:pt>
                <c:pt idx="121">
                  <c:v>44490</c:v>
                </c:pt>
                <c:pt idx="122">
                  <c:v>44491</c:v>
                </c:pt>
                <c:pt idx="123">
                  <c:v>44492</c:v>
                </c:pt>
                <c:pt idx="124">
                  <c:v>44493</c:v>
                </c:pt>
                <c:pt idx="125">
                  <c:v>44494</c:v>
                </c:pt>
                <c:pt idx="126">
                  <c:v>44495</c:v>
                </c:pt>
                <c:pt idx="127">
                  <c:v>44496</c:v>
                </c:pt>
                <c:pt idx="128">
                  <c:v>44497</c:v>
                </c:pt>
                <c:pt idx="129">
                  <c:v>44498</c:v>
                </c:pt>
                <c:pt idx="130">
                  <c:v>44499</c:v>
                </c:pt>
                <c:pt idx="131">
                  <c:v>44500</c:v>
                </c:pt>
                <c:pt idx="132">
                  <c:v>44501</c:v>
                </c:pt>
                <c:pt idx="133">
                  <c:v>44502</c:v>
                </c:pt>
                <c:pt idx="134">
                  <c:v>44503</c:v>
                </c:pt>
                <c:pt idx="135">
                  <c:v>44504</c:v>
                </c:pt>
                <c:pt idx="136">
                  <c:v>44505</c:v>
                </c:pt>
                <c:pt idx="137">
                  <c:v>44506</c:v>
                </c:pt>
                <c:pt idx="138">
                  <c:v>44507</c:v>
                </c:pt>
                <c:pt idx="139">
                  <c:v>44508</c:v>
                </c:pt>
                <c:pt idx="140">
                  <c:v>44509</c:v>
                </c:pt>
                <c:pt idx="141">
                  <c:v>44510</c:v>
                </c:pt>
                <c:pt idx="142">
                  <c:v>44511</c:v>
                </c:pt>
                <c:pt idx="143">
                  <c:v>44512</c:v>
                </c:pt>
                <c:pt idx="144">
                  <c:v>44513</c:v>
                </c:pt>
                <c:pt idx="145">
                  <c:v>44514</c:v>
                </c:pt>
                <c:pt idx="146">
                  <c:v>44515</c:v>
                </c:pt>
                <c:pt idx="147">
                  <c:v>44516</c:v>
                </c:pt>
                <c:pt idx="148">
                  <c:v>44517</c:v>
                </c:pt>
                <c:pt idx="149">
                  <c:v>44518</c:v>
                </c:pt>
                <c:pt idx="150">
                  <c:v>44519</c:v>
                </c:pt>
                <c:pt idx="151">
                  <c:v>44520</c:v>
                </c:pt>
                <c:pt idx="152">
                  <c:v>44521</c:v>
                </c:pt>
                <c:pt idx="153">
                  <c:v>44522</c:v>
                </c:pt>
                <c:pt idx="154">
                  <c:v>44523</c:v>
                </c:pt>
                <c:pt idx="155">
                  <c:v>44524</c:v>
                </c:pt>
                <c:pt idx="156">
                  <c:v>44525</c:v>
                </c:pt>
                <c:pt idx="157">
                  <c:v>44526</c:v>
                </c:pt>
                <c:pt idx="158">
                  <c:v>44527</c:v>
                </c:pt>
                <c:pt idx="159">
                  <c:v>44528</c:v>
                </c:pt>
                <c:pt idx="160">
                  <c:v>44529</c:v>
                </c:pt>
                <c:pt idx="161">
                  <c:v>44530</c:v>
                </c:pt>
                <c:pt idx="162">
                  <c:v>44531</c:v>
                </c:pt>
                <c:pt idx="163">
                  <c:v>44532</c:v>
                </c:pt>
              </c:numCache>
            </c:numRef>
          </c:cat>
          <c:val>
            <c:numRef>
              <c:f>Sheet1!$B$135:$B$298</c:f>
              <c:numCache>
                <c:formatCode>General</c:formatCode>
                <c:ptCount val="164"/>
                <c:pt idx="0">
                  <c:v>4</c:v>
                </c:pt>
                <c:pt idx="1">
                  <c:v>4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4</c:v>
                </c:pt>
                <c:pt idx="6">
                  <c:v>3</c:v>
                </c:pt>
                <c:pt idx="7">
                  <c:v>1</c:v>
                </c:pt>
                <c:pt idx="8">
                  <c:v>3</c:v>
                </c:pt>
                <c:pt idx="9">
                  <c:v>1</c:v>
                </c:pt>
                <c:pt idx="10">
                  <c:v>3</c:v>
                </c:pt>
                <c:pt idx="11">
                  <c:v>2</c:v>
                </c:pt>
                <c:pt idx="12">
                  <c:v>4</c:v>
                </c:pt>
                <c:pt idx="13">
                  <c:v>2</c:v>
                </c:pt>
                <c:pt idx="14">
                  <c:v>4</c:v>
                </c:pt>
                <c:pt idx="15">
                  <c:v>1</c:v>
                </c:pt>
                <c:pt idx="16">
                  <c:v>1</c:v>
                </c:pt>
                <c:pt idx="17">
                  <c:v>4</c:v>
                </c:pt>
                <c:pt idx="18">
                  <c:v>7</c:v>
                </c:pt>
                <c:pt idx="19">
                  <c:v>1</c:v>
                </c:pt>
                <c:pt idx="20">
                  <c:v>7</c:v>
                </c:pt>
                <c:pt idx="21">
                  <c:v>4</c:v>
                </c:pt>
                <c:pt idx="22">
                  <c:v>7</c:v>
                </c:pt>
                <c:pt idx="23">
                  <c:v>5</c:v>
                </c:pt>
                <c:pt idx="24">
                  <c:v>8</c:v>
                </c:pt>
                <c:pt idx="25">
                  <c:v>3</c:v>
                </c:pt>
                <c:pt idx="26">
                  <c:v>4</c:v>
                </c:pt>
                <c:pt idx="27">
                  <c:v>10</c:v>
                </c:pt>
                <c:pt idx="28">
                  <c:v>8</c:v>
                </c:pt>
                <c:pt idx="29">
                  <c:v>7</c:v>
                </c:pt>
                <c:pt idx="30">
                  <c:v>7</c:v>
                </c:pt>
                <c:pt idx="31">
                  <c:v>6</c:v>
                </c:pt>
                <c:pt idx="32">
                  <c:v>1</c:v>
                </c:pt>
                <c:pt idx="33">
                  <c:v>3</c:v>
                </c:pt>
                <c:pt idx="34">
                  <c:v>9</c:v>
                </c:pt>
                <c:pt idx="35">
                  <c:v>5</c:v>
                </c:pt>
                <c:pt idx="36">
                  <c:v>2</c:v>
                </c:pt>
                <c:pt idx="37">
                  <c:v>8</c:v>
                </c:pt>
                <c:pt idx="38">
                  <c:v>4</c:v>
                </c:pt>
                <c:pt idx="39">
                  <c:v>2</c:v>
                </c:pt>
                <c:pt idx="40">
                  <c:v>1</c:v>
                </c:pt>
                <c:pt idx="41">
                  <c:v>2</c:v>
                </c:pt>
                <c:pt idx="42">
                  <c:v>6</c:v>
                </c:pt>
                <c:pt idx="43">
                  <c:v>11</c:v>
                </c:pt>
                <c:pt idx="44">
                  <c:v>3</c:v>
                </c:pt>
                <c:pt idx="45">
                  <c:v>6</c:v>
                </c:pt>
                <c:pt idx="46">
                  <c:v>1</c:v>
                </c:pt>
                <c:pt idx="47">
                  <c:v>3</c:v>
                </c:pt>
                <c:pt idx="48">
                  <c:v>12</c:v>
                </c:pt>
                <c:pt idx="49">
                  <c:v>3</c:v>
                </c:pt>
                <c:pt idx="50">
                  <c:v>7</c:v>
                </c:pt>
                <c:pt idx="51">
                  <c:v>4</c:v>
                </c:pt>
                <c:pt idx="52">
                  <c:v>9</c:v>
                </c:pt>
                <c:pt idx="53">
                  <c:v>5</c:v>
                </c:pt>
                <c:pt idx="54">
                  <c:v>2</c:v>
                </c:pt>
                <c:pt idx="55">
                  <c:v>7</c:v>
                </c:pt>
                <c:pt idx="56">
                  <c:v>4</c:v>
                </c:pt>
                <c:pt idx="57">
                  <c:v>3</c:v>
                </c:pt>
                <c:pt idx="58">
                  <c:v>3</c:v>
                </c:pt>
                <c:pt idx="59">
                  <c:v>4</c:v>
                </c:pt>
                <c:pt idx="60">
                  <c:v>2</c:v>
                </c:pt>
                <c:pt idx="61">
                  <c:v>3</c:v>
                </c:pt>
                <c:pt idx="62">
                  <c:v>8</c:v>
                </c:pt>
                <c:pt idx="63">
                  <c:v>5</c:v>
                </c:pt>
                <c:pt idx="64">
                  <c:v>6</c:v>
                </c:pt>
                <c:pt idx="65">
                  <c:v>5</c:v>
                </c:pt>
                <c:pt idx="66">
                  <c:v>4</c:v>
                </c:pt>
                <c:pt idx="67">
                  <c:v>3</c:v>
                </c:pt>
                <c:pt idx="68">
                  <c:v>2</c:v>
                </c:pt>
                <c:pt idx="69">
                  <c:v>1</c:v>
                </c:pt>
                <c:pt idx="70">
                  <c:v>7</c:v>
                </c:pt>
                <c:pt idx="71">
                  <c:v>7</c:v>
                </c:pt>
                <c:pt idx="72">
                  <c:v>12</c:v>
                </c:pt>
                <c:pt idx="73">
                  <c:v>13</c:v>
                </c:pt>
                <c:pt idx="74">
                  <c:v>9</c:v>
                </c:pt>
                <c:pt idx="75">
                  <c:v>3</c:v>
                </c:pt>
                <c:pt idx="76">
                  <c:v>7</c:v>
                </c:pt>
                <c:pt idx="77">
                  <c:v>12</c:v>
                </c:pt>
                <c:pt idx="78">
                  <c:v>2</c:v>
                </c:pt>
                <c:pt idx="79">
                  <c:v>7</c:v>
                </c:pt>
                <c:pt idx="80">
                  <c:v>5</c:v>
                </c:pt>
                <c:pt idx="81">
                  <c:v>4</c:v>
                </c:pt>
                <c:pt idx="82">
                  <c:v>5</c:v>
                </c:pt>
                <c:pt idx="83">
                  <c:v>9</c:v>
                </c:pt>
                <c:pt idx="84">
                  <c:v>10</c:v>
                </c:pt>
                <c:pt idx="85">
                  <c:v>8</c:v>
                </c:pt>
                <c:pt idx="86">
                  <c:v>16</c:v>
                </c:pt>
                <c:pt idx="87">
                  <c:v>12</c:v>
                </c:pt>
                <c:pt idx="88">
                  <c:v>5</c:v>
                </c:pt>
                <c:pt idx="89">
                  <c:v>9</c:v>
                </c:pt>
                <c:pt idx="90">
                  <c:v>18</c:v>
                </c:pt>
                <c:pt idx="91">
                  <c:v>19</c:v>
                </c:pt>
                <c:pt idx="92">
                  <c:v>17</c:v>
                </c:pt>
                <c:pt idx="93">
                  <c:v>14</c:v>
                </c:pt>
                <c:pt idx="94">
                  <c:v>15</c:v>
                </c:pt>
                <c:pt idx="95">
                  <c:v>11</c:v>
                </c:pt>
                <c:pt idx="96">
                  <c:v>10</c:v>
                </c:pt>
                <c:pt idx="97">
                  <c:v>18</c:v>
                </c:pt>
                <c:pt idx="98">
                  <c:v>19</c:v>
                </c:pt>
                <c:pt idx="99">
                  <c:v>24</c:v>
                </c:pt>
                <c:pt idx="100">
                  <c:v>37</c:v>
                </c:pt>
                <c:pt idx="101">
                  <c:v>21</c:v>
                </c:pt>
                <c:pt idx="102">
                  <c:v>14</c:v>
                </c:pt>
                <c:pt idx="103">
                  <c:v>16</c:v>
                </c:pt>
                <c:pt idx="104">
                  <c:v>19</c:v>
                </c:pt>
                <c:pt idx="105">
                  <c:v>28</c:v>
                </c:pt>
                <c:pt idx="106">
                  <c:v>27</c:v>
                </c:pt>
                <c:pt idx="107">
                  <c:v>30</c:v>
                </c:pt>
                <c:pt idx="108">
                  <c:v>25</c:v>
                </c:pt>
                <c:pt idx="109">
                  <c:v>14</c:v>
                </c:pt>
                <c:pt idx="110">
                  <c:v>10</c:v>
                </c:pt>
                <c:pt idx="111">
                  <c:v>40</c:v>
                </c:pt>
                <c:pt idx="112">
                  <c:v>60</c:v>
                </c:pt>
                <c:pt idx="113">
                  <c:v>47</c:v>
                </c:pt>
                <c:pt idx="114">
                  <c:v>47</c:v>
                </c:pt>
                <c:pt idx="115">
                  <c:v>37</c:v>
                </c:pt>
                <c:pt idx="116">
                  <c:v>24</c:v>
                </c:pt>
                <c:pt idx="117">
                  <c:v>31</c:v>
                </c:pt>
                <c:pt idx="118">
                  <c:v>91</c:v>
                </c:pt>
                <c:pt idx="119">
                  <c:v>101</c:v>
                </c:pt>
                <c:pt idx="120">
                  <c:v>89</c:v>
                </c:pt>
                <c:pt idx="121">
                  <c:v>119</c:v>
                </c:pt>
                <c:pt idx="122">
                  <c:v>106</c:v>
                </c:pt>
                <c:pt idx="123">
                  <c:v>76</c:v>
                </c:pt>
                <c:pt idx="124">
                  <c:v>44</c:v>
                </c:pt>
                <c:pt idx="125">
                  <c:v>175</c:v>
                </c:pt>
                <c:pt idx="126">
                  <c:v>174</c:v>
                </c:pt>
                <c:pt idx="127">
                  <c:v>164</c:v>
                </c:pt>
                <c:pt idx="128">
                  <c:v>97</c:v>
                </c:pt>
                <c:pt idx="129">
                  <c:v>201</c:v>
                </c:pt>
                <c:pt idx="130">
                  <c:v>139</c:v>
                </c:pt>
                <c:pt idx="131">
                  <c:v>97</c:v>
                </c:pt>
                <c:pt idx="132">
                  <c:v>303</c:v>
                </c:pt>
                <c:pt idx="133">
                  <c:v>271</c:v>
                </c:pt>
                <c:pt idx="134">
                  <c:v>262</c:v>
                </c:pt>
                <c:pt idx="135">
                  <c:v>244</c:v>
                </c:pt>
                <c:pt idx="136">
                  <c:v>284</c:v>
                </c:pt>
                <c:pt idx="137">
                  <c:v>159</c:v>
                </c:pt>
                <c:pt idx="138">
                  <c:v>86</c:v>
                </c:pt>
                <c:pt idx="139">
                  <c:v>316</c:v>
                </c:pt>
                <c:pt idx="140">
                  <c:v>341</c:v>
                </c:pt>
                <c:pt idx="141">
                  <c:v>358</c:v>
                </c:pt>
                <c:pt idx="142">
                  <c:v>265</c:v>
                </c:pt>
                <c:pt idx="143">
                  <c:v>376</c:v>
                </c:pt>
                <c:pt idx="144">
                  <c:v>243</c:v>
                </c:pt>
                <c:pt idx="145">
                  <c:v>130</c:v>
                </c:pt>
                <c:pt idx="146">
                  <c:v>389</c:v>
                </c:pt>
                <c:pt idx="147">
                  <c:v>490</c:v>
                </c:pt>
                <c:pt idx="148">
                  <c:v>304</c:v>
                </c:pt>
                <c:pt idx="149">
                  <c:v>388</c:v>
                </c:pt>
                <c:pt idx="150">
                  <c:v>572</c:v>
                </c:pt>
                <c:pt idx="151">
                  <c:v>326</c:v>
                </c:pt>
                <c:pt idx="152">
                  <c:v>206</c:v>
                </c:pt>
                <c:pt idx="153">
                  <c:v>458</c:v>
                </c:pt>
                <c:pt idx="154">
                  <c:v>546</c:v>
                </c:pt>
                <c:pt idx="155">
                  <c:v>367</c:v>
                </c:pt>
                <c:pt idx="156">
                  <c:v>544</c:v>
                </c:pt>
                <c:pt idx="157">
                  <c:v>400</c:v>
                </c:pt>
                <c:pt idx="158">
                  <c:v>257</c:v>
                </c:pt>
                <c:pt idx="159">
                  <c:v>201</c:v>
                </c:pt>
                <c:pt idx="160">
                  <c:v>466</c:v>
                </c:pt>
                <c:pt idx="161">
                  <c:v>380</c:v>
                </c:pt>
                <c:pt idx="162">
                  <c:v>379</c:v>
                </c:pt>
                <c:pt idx="163">
                  <c:v>2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9F-460A-A36A-554DEDA2A4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7466795309236889"/>
          <c:h val="0.90552881115878769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31750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06</c:f>
              <c:numCache>
                <c:formatCode>m/d/yyyy</c:formatCode>
                <c:ptCount val="305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</c:numCache>
            </c:numRef>
          </c:cat>
          <c:val>
            <c:numRef>
              <c:f>List1!$B$2:$B$306</c:f>
              <c:numCache>
                <c:formatCode>General</c:formatCode>
                <c:ptCount val="305"/>
                <c:pt idx="0">
                  <c:v>81.180081180081004</c:v>
                </c:pt>
                <c:pt idx="1">
                  <c:v>64.319022350859996</c:v>
                </c:pt>
                <c:pt idx="2">
                  <c:v>52.979052897545998</c:v>
                </c:pt>
                <c:pt idx="3">
                  <c:v>78.205392055977995</c:v>
                </c:pt>
                <c:pt idx="4">
                  <c:v>53.783459517602999</c:v>
                </c:pt>
                <c:pt idx="5">
                  <c:v>35.365828288501</c:v>
                </c:pt>
                <c:pt idx="6">
                  <c:v>33.484011384562997</c:v>
                </c:pt>
                <c:pt idx="7">
                  <c:v>42.714963051555998</c:v>
                </c:pt>
                <c:pt idx="8">
                  <c:v>50.404330389427997</c:v>
                </c:pt>
                <c:pt idx="9">
                  <c:v>69.689544320302005</c:v>
                </c:pt>
                <c:pt idx="10">
                  <c:v>62.547779553825002</c:v>
                </c:pt>
                <c:pt idx="11">
                  <c:v>64.816593047820007</c:v>
                </c:pt>
                <c:pt idx="12">
                  <c:v>26.545682706693999</c:v>
                </c:pt>
                <c:pt idx="13">
                  <c:v>19.397231045268001</c:v>
                </c:pt>
                <c:pt idx="14">
                  <c:v>60.243988152015</c:v>
                </c:pt>
                <c:pt idx="15">
                  <c:v>89.077523644842003</c:v>
                </c:pt>
                <c:pt idx="16">
                  <c:v>35.43103213322</c:v>
                </c:pt>
                <c:pt idx="17">
                  <c:v>79.963445282156002</c:v>
                </c:pt>
                <c:pt idx="18">
                  <c:v>68.452380952379997</c:v>
                </c:pt>
                <c:pt idx="19">
                  <c:v>39.042556386461001</c:v>
                </c:pt>
                <c:pt idx="20">
                  <c:v>24.178680448514001</c:v>
                </c:pt>
                <c:pt idx="21">
                  <c:v>104.222594195117</c:v>
                </c:pt>
                <c:pt idx="22">
                  <c:v>98.218962807752007</c:v>
                </c:pt>
                <c:pt idx="23">
                  <c:v>77.894808141699997</c:v>
                </c:pt>
                <c:pt idx="24">
                  <c:v>115.53812758210201</c:v>
                </c:pt>
                <c:pt idx="25">
                  <c:v>137.07524709616899</c:v>
                </c:pt>
                <c:pt idx="26">
                  <c:v>76.139371306333999</c:v>
                </c:pt>
                <c:pt idx="27">
                  <c:v>58.093094183428001</c:v>
                </c:pt>
                <c:pt idx="28">
                  <c:v>104.093088962414</c:v>
                </c:pt>
                <c:pt idx="29">
                  <c:v>155.30303030303</c:v>
                </c:pt>
                <c:pt idx="30">
                  <c:v>122.812404052809</c:v>
                </c:pt>
                <c:pt idx="31">
                  <c:v>70.066173608406999</c:v>
                </c:pt>
                <c:pt idx="32">
                  <c:v>90.747681988557005</c:v>
                </c:pt>
                <c:pt idx="33">
                  <c:v>31.613056192207001</c:v>
                </c:pt>
                <c:pt idx="34">
                  <c:v>31.664357807243</c:v>
                </c:pt>
                <c:pt idx="35">
                  <c:v>79.926467649762003</c:v>
                </c:pt>
                <c:pt idx="36">
                  <c:v>68.811981380286994</c:v>
                </c:pt>
                <c:pt idx="37">
                  <c:v>77.646097261953003</c:v>
                </c:pt>
                <c:pt idx="38">
                  <c:v>24.737167594310002</c:v>
                </c:pt>
                <c:pt idx="39">
                  <c:v>70.889454151202997</c:v>
                </c:pt>
                <c:pt idx="40">
                  <c:v>37.554767369079002</c:v>
                </c:pt>
                <c:pt idx="41">
                  <c:v>16.700764059954999</c:v>
                </c:pt>
                <c:pt idx="42">
                  <c:v>88.239001638724005</c:v>
                </c:pt>
                <c:pt idx="43">
                  <c:v>109.959822372594</c:v>
                </c:pt>
                <c:pt idx="44">
                  <c:v>29.789769342071001</c:v>
                </c:pt>
                <c:pt idx="45">
                  <c:v>42.813717515091</c:v>
                </c:pt>
                <c:pt idx="46">
                  <c:v>38.952607660679</c:v>
                </c:pt>
                <c:pt idx="47">
                  <c:v>21.647833051911</c:v>
                </c:pt>
                <c:pt idx="48">
                  <c:v>21.655333708692002</c:v>
                </c:pt>
                <c:pt idx="49">
                  <c:v>30.567685589519002</c:v>
                </c:pt>
                <c:pt idx="50">
                  <c:v>65.945660775519997</c:v>
                </c:pt>
                <c:pt idx="51">
                  <c:v>26.583961010189999</c:v>
                </c:pt>
                <c:pt idx="52">
                  <c:v>35.816618911173997</c:v>
                </c:pt>
                <c:pt idx="53">
                  <c:v>36.279533807989999</c:v>
                </c:pt>
                <c:pt idx="54">
                  <c:v>40.897936926291997</c:v>
                </c:pt>
                <c:pt idx="55">
                  <c:v>4.5599635202910003</c:v>
                </c:pt>
                <c:pt idx="56">
                  <c:v>60.096153846153001</c:v>
                </c:pt>
                <c:pt idx="57">
                  <c:v>51.602007787212003</c:v>
                </c:pt>
                <c:pt idx="58">
                  <c:v>23.815194093831</c:v>
                </c:pt>
                <c:pt idx="59">
                  <c:v>29.030385136442</c:v>
                </c:pt>
                <c:pt idx="60">
                  <c:v>19.795120502795999</c:v>
                </c:pt>
                <c:pt idx="61">
                  <c:v>14.878000396746</c:v>
                </c:pt>
                <c:pt idx="62">
                  <c:v>19.87083954297</c:v>
                </c:pt>
                <c:pt idx="63">
                  <c:v>25.206694898163999</c:v>
                </c:pt>
                <c:pt idx="64">
                  <c:v>46.101833828501</c:v>
                </c:pt>
                <c:pt idx="65">
                  <c:v>10.454236579372999</c:v>
                </c:pt>
                <c:pt idx="66">
                  <c:v>5.3339022829099996</c:v>
                </c:pt>
                <c:pt idx="67">
                  <c:v>10.940320551392</c:v>
                </c:pt>
                <c:pt idx="68">
                  <c:v>10.985992859104</c:v>
                </c:pt>
                <c:pt idx="69">
                  <c:v>5.5081244836129999</c:v>
                </c:pt>
                <c:pt idx="70">
                  <c:v>16.798252981689</c:v>
                </c:pt>
                <c:pt idx="71">
                  <c:v>11.413570735604001</c:v>
                </c:pt>
                <c:pt idx="72">
                  <c:v>52.283025444404998</c:v>
                </c:pt>
                <c:pt idx="73">
                  <c:v>17.803097739005999</c:v>
                </c:pt>
                <c:pt idx="74">
                  <c:v>17.905102954341</c:v>
                </c:pt>
                <c:pt idx="75">
                  <c:v>6.004202942059</c:v>
                </c:pt>
                <c:pt idx="76">
                  <c:v>12.044564890093</c:v>
                </c:pt>
                <c:pt idx="77">
                  <c:v>36.203463464671003</c:v>
                </c:pt>
                <c:pt idx="78">
                  <c:v>24.594195769797999</c:v>
                </c:pt>
                <c:pt idx="79">
                  <c:v>31.183734564051001</c:v>
                </c:pt>
                <c:pt idx="80">
                  <c:v>6.3451776649739999</c:v>
                </c:pt>
                <c:pt idx="81">
                  <c:v>19.354838709677001</c:v>
                </c:pt>
                <c:pt idx="82">
                  <c:v>6.4926632904810004</c:v>
                </c:pt>
                <c:pt idx="83">
                  <c:v>6.5142336004160004</c:v>
                </c:pt>
                <c:pt idx="84">
                  <c:v>13.170892327955</c:v>
                </c:pt>
                <c:pt idx="85">
                  <c:v>6.6560170394030003</c:v>
                </c:pt>
                <c:pt idx="86">
                  <c:v>40.436716538616999</c:v>
                </c:pt>
                <c:pt idx="87">
                  <c:v>13.638843426077001</c:v>
                </c:pt>
                <c:pt idx="88">
                  <c:v>20.735416090682001</c:v>
                </c:pt>
                <c:pt idx="89">
                  <c:v>6.9261670591489999</c:v>
                </c:pt>
                <c:pt idx="90">
                  <c:v>0</c:v>
                </c:pt>
                <c:pt idx="91">
                  <c:v>6.9847034993359998</c:v>
                </c:pt>
                <c:pt idx="92">
                  <c:v>7.039774727208</c:v>
                </c:pt>
                <c:pt idx="93">
                  <c:v>7.0796460176989999</c:v>
                </c:pt>
                <c:pt idx="94">
                  <c:v>0</c:v>
                </c:pt>
                <c:pt idx="95">
                  <c:v>0</c:v>
                </c:pt>
                <c:pt idx="96">
                  <c:v>7.1952798963870004</c:v>
                </c:pt>
                <c:pt idx="97">
                  <c:v>7.2035729721940003</c:v>
                </c:pt>
                <c:pt idx="98">
                  <c:v>0</c:v>
                </c:pt>
                <c:pt idx="99">
                  <c:v>14.485405953500999</c:v>
                </c:pt>
                <c:pt idx="100">
                  <c:v>0</c:v>
                </c:pt>
                <c:pt idx="101">
                  <c:v>14.626298083954</c:v>
                </c:pt>
                <c:pt idx="102">
                  <c:v>14.706963747333999</c:v>
                </c:pt>
                <c:pt idx="103">
                  <c:v>7.3599764480749998</c:v>
                </c:pt>
                <c:pt idx="104">
                  <c:v>0</c:v>
                </c:pt>
                <c:pt idx="105">
                  <c:v>14.783058614827</c:v>
                </c:pt>
                <c:pt idx="106">
                  <c:v>14.824697946779001</c:v>
                </c:pt>
                <c:pt idx="107">
                  <c:v>22.293230289067999</c:v>
                </c:pt>
                <c:pt idx="108">
                  <c:v>7.4510096118020002</c:v>
                </c:pt>
                <c:pt idx="109">
                  <c:v>7.4928817623250001</c:v>
                </c:pt>
                <c:pt idx="110">
                  <c:v>0</c:v>
                </c:pt>
                <c:pt idx="111">
                  <c:v>7.5182317119009996</c:v>
                </c:pt>
                <c:pt idx="112">
                  <c:v>0</c:v>
                </c:pt>
                <c:pt idx="113">
                  <c:v>7.567731194187</c:v>
                </c:pt>
                <c:pt idx="114">
                  <c:v>15.184875863639</c:v>
                </c:pt>
                <c:pt idx="115">
                  <c:v>0</c:v>
                </c:pt>
                <c:pt idx="116">
                  <c:v>15.309246785058001</c:v>
                </c:pt>
                <c:pt idx="117">
                  <c:v>0</c:v>
                </c:pt>
                <c:pt idx="118">
                  <c:v>7.7190274025469998</c:v>
                </c:pt>
                <c:pt idx="119">
                  <c:v>0</c:v>
                </c:pt>
                <c:pt idx="120">
                  <c:v>15.686274509803001</c:v>
                </c:pt>
                <c:pt idx="121">
                  <c:v>0</c:v>
                </c:pt>
                <c:pt idx="122">
                  <c:v>8.0012802048319998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16.777116013756999</c:v>
                </c:pt>
                <c:pt idx="131">
                  <c:v>0</c:v>
                </c:pt>
                <c:pt idx="132">
                  <c:v>0</c:v>
                </c:pt>
                <c:pt idx="133">
                  <c:v>8.5770649283810005</c:v>
                </c:pt>
                <c:pt idx="135">
                  <c:v>0</c:v>
                </c:pt>
                <c:pt idx="136">
                  <c:v>0</c:v>
                </c:pt>
                <c:pt idx="137">
                  <c:v>8.8472087056529993</c:v>
                </c:pt>
                <c:pt idx="138">
                  <c:v>0</c:v>
                </c:pt>
                <c:pt idx="139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50">
                  <c:v>0</c:v>
                </c:pt>
                <c:pt idx="151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1">
                  <c:v>0</c:v>
                </c:pt>
                <c:pt idx="162">
                  <c:v>10.07962906965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20.614306328592001</c:v>
                </c:pt>
                <c:pt idx="167">
                  <c:v>0</c:v>
                </c:pt>
                <c:pt idx="168">
                  <c:v>20.624935547075999</c:v>
                </c:pt>
                <c:pt idx="169">
                  <c:v>0</c:v>
                </c:pt>
                <c:pt idx="170">
                  <c:v>10.376673238559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10.525207872855001</c:v>
                </c:pt>
                <c:pt idx="175">
                  <c:v>10.578652279699</c:v>
                </c:pt>
                <c:pt idx="176">
                  <c:v>10.632642211588999</c:v>
                </c:pt>
                <c:pt idx="177">
                  <c:v>0</c:v>
                </c:pt>
                <c:pt idx="178">
                  <c:v>21.491510853211999</c:v>
                </c:pt>
                <c:pt idx="179">
                  <c:v>21.623959346955999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44.120891242002998</c:v>
                </c:pt>
                <c:pt idx="185">
                  <c:v>0</c:v>
                </c:pt>
                <c:pt idx="186">
                  <c:v>22.251891410769002</c:v>
                </c:pt>
                <c:pt idx="187">
                  <c:v>0</c:v>
                </c:pt>
                <c:pt idx="188">
                  <c:v>11.150758251560999</c:v>
                </c:pt>
                <c:pt idx="189">
                  <c:v>11.194447554012999</c:v>
                </c:pt>
                <c:pt idx="190">
                  <c:v>0</c:v>
                </c:pt>
                <c:pt idx="191">
                  <c:v>22.565722667267998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22.878059940517002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11.626555051738</c:v>
                </c:pt>
                <c:pt idx="201">
                  <c:v>0</c:v>
                </c:pt>
                <c:pt idx="202">
                  <c:v>0</c:v>
                </c:pt>
                <c:pt idx="203">
                  <c:v>11.679514132212001</c:v>
                </c:pt>
                <c:pt idx="204">
                  <c:v>0</c:v>
                </c:pt>
                <c:pt idx="205">
                  <c:v>0</c:v>
                </c:pt>
                <c:pt idx="206">
                  <c:v>11.818933932159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12.001920307249</c:v>
                </c:pt>
                <c:pt idx="213">
                  <c:v>12.039489525644001</c:v>
                </c:pt>
                <c:pt idx="214">
                  <c:v>0</c:v>
                </c:pt>
                <c:pt idx="215">
                  <c:v>12.086052695189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12.181751735899001</c:v>
                </c:pt>
                <c:pt idx="223">
                  <c:v>0</c:v>
                </c:pt>
                <c:pt idx="224">
                  <c:v>0</c:v>
                </c:pt>
                <c:pt idx="225">
                  <c:v>12.181751735899001</c:v>
                </c:pt>
                <c:pt idx="226">
                  <c:v>0</c:v>
                </c:pt>
                <c:pt idx="227">
                  <c:v>0</c:v>
                </c:pt>
                <c:pt idx="228">
                  <c:v>12.180267965895</c:v>
                </c:pt>
                <c:pt idx="229">
                  <c:v>12.162490878131001</c:v>
                </c:pt>
                <c:pt idx="230">
                  <c:v>0</c:v>
                </c:pt>
                <c:pt idx="231">
                  <c:v>0</c:v>
                </c:pt>
                <c:pt idx="232">
                  <c:v>12.134449702705</c:v>
                </c:pt>
                <c:pt idx="233">
                  <c:v>24.274790629929999</c:v>
                </c:pt>
                <c:pt idx="234">
                  <c:v>0</c:v>
                </c:pt>
                <c:pt idx="235">
                  <c:v>12.156576707998999</c:v>
                </c:pt>
                <c:pt idx="236">
                  <c:v>0</c:v>
                </c:pt>
                <c:pt idx="237">
                  <c:v>12.116806009935001</c:v>
                </c:pt>
                <c:pt idx="238">
                  <c:v>24.201355275895001</c:v>
                </c:pt>
                <c:pt idx="239">
                  <c:v>12.094823415578</c:v>
                </c:pt>
                <c:pt idx="240">
                  <c:v>12.087513598452</c:v>
                </c:pt>
                <c:pt idx="241">
                  <c:v>12.097749818533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12.149192078725999</c:v>
                </c:pt>
                <c:pt idx="248">
                  <c:v>12.186205215695001</c:v>
                </c:pt>
                <c:pt idx="249">
                  <c:v>12.221950623319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36.728697355533001</c:v>
                </c:pt>
                <c:pt idx="254">
                  <c:v>12.281994595922001</c:v>
                </c:pt>
                <c:pt idx="255">
                  <c:v>36.900369003690003</c:v>
                </c:pt>
                <c:pt idx="256">
                  <c:v>12.324377618930001</c:v>
                </c:pt>
                <c:pt idx="257">
                  <c:v>0</c:v>
                </c:pt>
                <c:pt idx="258">
                  <c:v>24.645717806531</c:v>
                </c:pt>
                <c:pt idx="259">
                  <c:v>49.327907263534001</c:v>
                </c:pt>
                <c:pt idx="260">
                  <c:v>61.774153694093997</c:v>
                </c:pt>
                <c:pt idx="261">
                  <c:v>24.743288383026002</c:v>
                </c:pt>
                <c:pt idx="262">
                  <c:v>37.188545927854001</c:v>
                </c:pt>
                <c:pt idx="263">
                  <c:v>74.450924432310998</c:v>
                </c:pt>
                <c:pt idx="264">
                  <c:v>86.870191114419995</c:v>
                </c:pt>
                <c:pt idx="265">
                  <c:v>49.633949621540999</c:v>
                </c:pt>
                <c:pt idx="266">
                  <c:v>87.086339885542998</c:v>
                </c:pt>
                <c:pt idx="267">
                  <c:v>37.350597609561</c:v>
                </c:pt>
                <c:pt idx="268">
                  <c:v>74.757039621230007</c:v>
                </c:pt>
                <c:pt idx="269">
                  <c:v>74.83162883512</c:v>
                </c:pt>
                <c:pt idx="270">
                  <c:v>99.987501562304004</c:v>
                </c:pt>
                <c:pt idx="271">
                  <c:v>87.532824809302994</c:v>
                </c:pt>
                <c:pt idx="272">
                  <c:v>25.009378516942999</c:v>
                </c:pt>
                <c:pt idx="273">
                  <c:v>162.86644951139999</c:v>
                </c:pt>
                <c:pt idx="274">
                  <c:v>162.96853453679299</c:v>
                </c:pt>
                <c:pt idx="275">
                  <c:v>150.696973502448</c:v>
                </c:pt>
                <c:pt idx="276">
                  <c:v>88.094638811980005</c:v>
                </c:pt>
                <c:pt idx="277">
                  <c:v>151.53428463189701</c:v>
                </c:pt>
                <c:pt idx="278">
                  <c:v>37.926675094815998</c:v>
                </c:pt>
                <c:pt idx="279">
                  <c:v>50.594485201113002</c:v>
                </c:pt>
                <c:pt idx="280">
                  <c:v>177.48478701825499</c:v>
                </c:pt>
                <c:pt idx="281">
                  <c:v>76.267954747679994</c:v>
                </c:pt>
                <c:pt idx="282">
                  <c:v>153.041703864303</c:v>
                </c:pt>
                <c:pt idx="283">
                  <c:v>165.922144224633</c:v>
                </c:pt>
                <c:pt idx="284">
                  <c:v>127.877237851662</c:v>
                </c:pt>
                <c:pt idx="285">
                  <c:v>166.41065028161799</c:v>
                </c:pt>
                <c:pt idx="286">
                  <c:v>51.242633871380001</c:v>
                </c:pt>
                <c:pt idx="287">
                  <c:v>257.06940874035899</c:v>
                </c:pt>
                <c:pt idx="288">
                  <c:v>283.43210512754399</c:v>
                </c:pt>
                <c:pt idx="289">
                  <c:v>193.698347107438</c:v>
                </c:pt>
                <c:pt idx="290">
                  <c:v>259.10091980826502</c:v>
                </c:pt>
                <c:pt idx="291">
                  <c:v>416.666666666666</c:v>
                </c:pt>
                <c:pt idx="292">
                  <c:v>234.77240119994701</c:v>
                </c:pt>
                <c:pt idx="293">
                  <c:v>156.76028739386001</c:v>
                </c:pt>
                <c:pt idx="294">
                  <c:v>222.62964903090599</c:v>
                </c:pt>
                <c:pt idx="295">
                  <c:v>209.91865652059801</c:v>
                </c:pt>
                <c:pt idx="296">
                  <c:v>144.62266631606599</c:v>
                </c:pt>
                <c:pt idx="297">
                  <c:v>330.076577766041</c:v>
                </c:pt>
                <c:pt idx="298">
                  <c:v>185.50417384391099</c:v>
                </c:pt>
                <c:pt idx="299">
                  <c:v>66.330591668877005</c:v>
                </c:pt>
                <c:pt idx="300">
                  <c:v>106.21348911311701</c:v>
                </c:pt>
                <c:pt idx="301">
                  <c:v>186.567164179104</c:v>
                </c:pt>
                <c:pt idx="302">
                  <c:v>147.25568942436399</c:v>
                </c:pt>
                <c:pt idx="303">
                  <c:v>160.92262303875501</c:v>
                </c:pt>
                <c:pt idx="304">
                  <c:v>107.6860950329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5C3-4E3F-BFF5-5996318E7CE8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06</c:f>
              <c:numCache>
                <c:formatCode>m/d/yyyy</c:formatCode>
                <c:ptCount val="305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</c:numCache>
            </c:numRef>
          </c:cat>
          <c:val>
            <c:numRef>
              <c:f>List1!$C$2:$C$306</c:f>
              <c:numCache>
                <c:formatCode>General</c:formatCode>
                <c:ptCount val="30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2.30012300123</c:v>
                </c:pt>
                <c:pt idx="11">
                  <c:v>10.375596596804</c:v>
                </c:pt>
                <c:pt idx="12">
                  <c:v>0</c:v>
                </c:pt>
                <c:pt idx="13">
                  <c:v>0</c:v>
                </c:pt>
                <c:pt idx="14">
                  <c:v>8.7359133397389996</c:v>
                </c:pt>
                <c:pt idx="15">
                  <c:v>22.878059940517002</c:v>
                </c:pt>
                <c:pt idx="16">
                  <c:v>6.8549492733750004</c:v>
                </c:pt>
                <c:pt idx="17">
                  <c:v>12.30012300123</c:v>
                </c:pt>
                <c:pt idx="18">
                  <c:v>0</c:v>
                </c:pt>
                <c:pt idx="19">
                  <c:v>11.127802815334</c:v>
                </c:pt>
                <c:pt idx="20">
                  <c:v>5.5005500550050002</c:v>
                </c:pt>
                <c:pt idx="21">
                  <c:v>15.305341564204999</c:v>
                </c:pt>
                <c:pt idx="22">
                  <c:v>9.653907419027</c:v>
                </c:pt>
                <c:pt idx="23">
                  <c:v>13.80516313101</c:v>
                </c:pt>
                <c:pt idx="24">
                  <c:v>13.219935662978999</c:v>
                </c:pt>
                <c:pt idx="25">
                  <c:v>8.4997875053119998</c:v>
                </c:pt>
                <c:pt idx="26">
                  <c:v>8.4502281561599997</c:v>
                </c:pt>
                <c:pt idx="27">
                  <c:v>12.656091798852</c:v>
                </c:pt>
                <c:pt idx="28">
                  <c:v>16.43182845171</c:v>
                </c:pt>
                <c:pt idx="29">
                  <c:v>4.026089057089</c:v>
                </c:pt>
                <c:pt idx="30">
                  <c:v>11.914690813772999</c:v>
                </c:pt>
                <c:pt idx="31">
                  <c:v>7.8296273097400002</c:v>
                </c:pt>
                <c:pt idx="32">
                  <c:v>3.8626443663329999</c:v>
                </c:pt>
                <c:pt idx="33">
                  <c:v>7.7139661356879996</c:v>
                </c:pt>
                <c:pt idx="34">
                  <c:v>0</c:v>
                </c:pt>
                <c:pt idx="35">
                  <c:v>11.446449692852999</c:v>
                </c:pt>
                <c:pt idx="36">
                  <c:v>15.07897613752</c:v>
                </c:pt>
                <c:pt idx="37">
                  <c:v>7.4735622734570004</c:v>
                </c:pt>
                <c:pt idx="38">
                  <c:v>7.414272474513</c:v>
                </c:pt>
                <c:pt idx="39">
                  <c:v>3.6698594443829999</c:v>
                </c:pt>
                <c:pt idx="40">
                  <c:v>3.6678403755860001</c:v>
                </c:pt>
                <c:pt idx="41">
                  <c:v>10.997873744409</c:v>
                </c:pt>
                <c:pt idx="42">
                  <c:v>7.2915527361550003</c:v>
                </c:pt>
                <c:pt idx="43">
                  <c:v>14.501685820976</c:v>
                </c:pt>
                <c:pt idx="44">
                  <c:v>10.818998160770001</c:v>
                </c:pt>
                <c:pt idx="45">
                  <c:v>10.764262648008</c:v>
                </c:pt>
                <c:pt idx="46">
                  <c:v>10.66818391949</c:v>
                </c:pt>
                <c:pt idx="47">
                  <c:v>3.5550499484509999</c:v>
                </c:pt>
                <c:pt idx="48">
                  <c:v>3.5541654819440001</c:v>
                </c:pt>
                <c:pt idx="49">
                  <c:v>10.591724332721</c:v>
                </c:pt>
                <c:pt idx="50">
                  <c:v>7.0229650958630003</c:v>
                </c:pt>
                <c:pt idx="51">
                  <c:v>6.98007189474</c:v>
                </c:pt>
                <c:pt idx="52">
                  <c:v>3.4617648076980001</c:v>
                </c:pt>
                <c:pt idx="53">
                  <c:v>10.284186349456</c:v>
                </c:pt>
                <c:pt idx="54">
                  <c:v>10.268346111719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9.9255583126549993</c:v>
                </c:pt>
                <c:pt idx="59">
                  <c:v>3.2730010146300001</c:v>
                </c:pt>
                <c:pt idx="60">
                  <c:v>0</c:v>
                </c:pt>
                <c:pt idx="61">
                  <c:v>6.4389427256039999</c:v>
                </c:pt>
                <c:pt idx="62">
                  <c:v>0</c:v>
                </c:pt>
                <c:pt idx="63">
                  <c:v>0</c:v>
                </c:pt>
                <c:pt idx="64">
                  <c:v>3.153778226315</c:v>
                </c:pt>
                <c:pt idx="65">
                  <c:v>3.1151677517829999</c:v>
                </c:pt>
                <c:pt idx="66">
                  <c:v>15.39171925504</c:v>
                </c:pt>
                <c:pt idx="67">
                  <c:v>6.0690659707470003</c:v>
                </c:pt>
                <c:pt idx="68">
                  <c:v>0</c:v>
                </c:pt>
                <c:pt idx="69">
                  <c:v>3.0226091161889999</c:v>
                </c:pt>
                <c:pt idx="70">
                  <c:v>5.991432251879</c:v>
                </c:pt>
                <c:pt idx="71">
                  <c:v>2.9656870013929999</c:v>
                </c:pt>
                <c:pt idx="72">
                  <c:v>0</c:v>
                </c:pt>
                <c:pt idx="73">
                  <c:v>0</c:v>
                </c:pt>
                <c:pt idx="74">
                  <c:v>2.8992230082330002</c:v>
                </c:pt>
                <c:pt idx="75">
                  <c:v>5.781349366942</c:v>
                </c:pt>
                <c:pt idx="76">
                  <c:v>5.7726721699469996</c:v>
                </c:pt>
                <c:pt idx="77">
                  <c:v>5.767012687427</c:v>
                </c:pt>
                <c:pt idx="78">
                  <c:v>0</c:v>
                </c:pt>
                <c:pt idx="79">
                  <c:v>11.356538527055999</c:v>
                </c:pt>
                <c:pt idx="80">
                  <c:v>2.8170601160620001</c:v>
                </c:pt>
                <c:pt idx="81">
                  <c:v>8.3892617449659994</c:v>
                </c:pt>
                <c:pt idx="82">
                  <c:v>0</c:v>
                </c:pt>
                <c:pt idx="83">
                  <c:v>0</c:v>
                </c:pt>
                <c:pt idx="84">
                  <c:v>2.7716186252770001</c:v>
                </c:pt>
                <c:pt idx="85">
                  <c:v>5.5183069834170002</c:v>
                </c:pt>
                <c:pt idx="86">
                  <c:v>2.7449903925329999</c:v>
                </c:pt>
                <c:pt idx="87">
                  <c:v>13.658963011528</c:v>
                </c:pt>
                <c:pt idx="88">
                  <c:v>2.7170959678290001</c:v>
                </c:pt>
                <c:pt idx="89">
                  <c:v>0</c:v>
                </c:pt>
                <c:pt idx="90">
                  <c:v>8.138020833333</c:v>
                </c:pt>
                <c:pt idx="91">
                  <c:v>2.7062134661180002</c:v>
                </c:pt>
                <c:pt idx="92">
                  <c:v>5.3962172517060001</c:v>
                </c:pt>
                <c:pt idx="93">
                  <c:v>10.769769257693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5.3467358177830002</c:v>
                </c:pt>
                <c:pt idx="99">
                  <c:v>0</c:v>
                </c:pt>
                <c:pt idx="100">
                  <c:v>0</c:v>
                </c:pt>
                <c:pt idx="101">
                  <c:v>7.9827572443520003</c:v>
                </c:pt>
                <c:pt idx="102">
                  <c:v>0</c:v>
                </c:pt>
                <c:pt idx="103">
                  <c:v>2.6549847338369998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2.6462026991259999</c:v>
                </c:pt>
                <c:pt idx="108">
                  <c:v>0</c:v>
                </c:pt>
                <c:pt idx="109">
                  <c:v>0</c:v>
                </c:pt>
                <c:pt idx="110">
                  <c:v>2.6382439848030002</c:v>
                </c:pt>
                <c:pt idx="111">
                  <c:v>0</c:v>
                </c:pt>
                <c:pt idx="112">
                  <c:v>2.632687447346</c:v>
                </c:pt>
                <c:pt idx="113">
                  <c:v>0</c:v>
                </c:pt>
                <c:pt idx="114">
                  <c:v>0</c:v>
                </c:pt>
                <c:pt idx="115">
                  <c:v>5.2482418389829997</c:v>
                </c:pt>
                <c:pt idx="116">
                  <c:v>5.2397170552789998</c:v>
                </c:pt>
                <c:pt idx="117">
                  <c:v>0</c:v>
                </c:pt>
                <c:pt idx="118">
                  <c:v>0</c:v>
                </c:pt>
                <c:pt idx="119">
                  <c:v>2.6086502843420001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1">
                  <c:v>2.534533012292</c:v>
                </c:pt>
                <c:pt idx="132">
                  <c:v>0</c:v>
                </c:pt>
                <c:pt idx="133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50">
                  <c:v>2.4595405578229999</c:v>
                </c:pt>
                <c:pt idx="151">
                  <c:v>0</c:v>
                </c:pt>
                <c:pt idx="153">
                  <c:v>2.45080018626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4.8614487117160001</c:v>
                </c:pt>
                <c:pt idx="159">
                  <c:v>0</c:v>
                </c:pt>
                <c:pt idx="161">
                  <c:v>4.851778176701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7.2292640609180001</c:v>
                </c:pt>
                <c:pt idx="166">
                  <c:v>0</c:v>
                </c:pt>
                <c:pt idx="167">
                  <c:v>2.408245833734</c:v>
                </c:pt>
                <c:pt idx="168">
                  <c:v>0</c:v>
                </c:pt>
                <c:pt idx="169">
                  <c:v>4.8151001540829999</c:v>
                </c:pt>
                <c:pt idx="170">
                  <c:v>2.404192912439</c:v>
                </c:pt>
                <c:pt idx="171">
                  <c:v>9.6063786354129999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4.7854903931279997</c:v>
                </c:pt>
                <c:pt idx="176">
                  <c:v>0</c:v>
                </c:pt>
                <c:pt idx="177">
                  <c:v>2.3866348448679999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7.1073205401559996</c:v>
                </c:pt>
                <c:pt idx="185">
                  <c:v>2.3663038334120001</c:v>
                </c:pt>
                <c:pt idx="186">
                  <c:v>0</c:v>
                </c:pt>
                <c:pt idx="187">
                  <c:v>0</c:v>
                </c:pt>
                <c:pt idx="188">
                  <c:v>4.7255629326840003</c:v>
                </c:pt>
                <c:pt idx="189">
                  <c:v>2.360606203673</c:v>
                </c:pt>
                <c:pt idx="190">
                  <c:v>0</c:v>
                </c:pt>
                <c:pt idx="191">
                  <c:v>4.7125353440150004</c:v>
                </c:pt>
                <c:pt idx="192">
                  <c:v>2.354492371444</c:v>
                </c:pt>
                <c:pt idx="193">
                  <c:v>2.351834430856</c:v>
                </c:pt>
                <c:pt idx="194">
                  <c:v>0</c:v>
                </c:pt>
                <c:pt idx="195">
                  <c:v>0</c:v>
                </c:pt>
                <c:pt idx="196">
                  <c:v>2.3485204321270001</c:v>
                </c:pt>
                <c:pt idx="197">
                  <c:v>0</c:v>
                </c:pt>
                <c:pt idx="198">
                  <c:v>0</c:v>
                </c:pt>
                <c:pt idx="199">
                  <c:v>4.6850476703600004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2.3371038608950001</c:v>
                </c:pt>
                <c:pt idx="204">
                  <c:v>0</c:v>
                </c:pt>
                <c:pt idx="205">
                  <c:v>2.3327967900709998</c:v>
                </c:pt>
                <c:pt idx="206">
                  <c:v>0</c:v>
                </c:pt>
                <c:pt idx="207">
                  <c:v>2.3288309268740002</c:v>
                </c:pt>
                <c:pt idx="208">
                  <c:v>2.3278551142969999</c:v>
                </c:pt>
                <c:pt idx="209">
                  <c:v>0</c:v>
                </c:pt>
                <c:pt idx="210">
                  <c:v>0</c:v>
                </c:pt>
                <c:pt idx="211">
                  <c:v>9.2951920619050004</c:v>
                </c:pt>
                <c:pt idx="212">
                  <c:v>6.9662138627649997</c:v>
                </c:pt>
                <c:pt idx="213">
                  <c:v>0</c:v>
                </c:pt>
                <c:pt idx="214">
                  <c:v>2.3167454360109998</c:v>
                </c:pt>
                <c:pt idx="215">
                  <c:v>4.6327395705449996</c:v>
                </c:pt>
                <c:pt idx="216">
                  <c:v>2.3158869847150001</c:v>
                </c:pt>
                <c:pt idx="217">
                  <c:v>0</c:v>
                </c:pt>
                <c:pt idx="218">
                  <c:v>4.6256678307929997</c:v>
                </c:pt>
                <c:pt idx="219">
                  <c:v>0</c:v>
                </c:pt>
                <c:pt idx="220">
                  <c:v>0</c:v>
                </c:pt>
                <c:pt idx="221">
                  <c:v>6.9221717160059999</c:v>
                </c:pt>
                <c:pt idx="222">
                  <c:v>4.6138230137490002</c:v>
                </c:pt>
                <c:pt idx="223">
                  <c:v>0</c:v>
                </c:pt>
                <c:pt idx="224">
                  <c:v>9.2210516609410007</c:v>
                </c:pt>
                <c:pt idx="225">
                  <c:v>2.3043598488330002</c:v>
                </c:pt>
                <c:pt idx="226">
                  <c:v>0</c:v>
                </c:pt>
                <c:pt idx="227">
                  <c:v>2.3026618771290002</c:v>
                </c:pt>
                <c:pt idx="228">
                  <c:v>2.3018668139859999</c:v>
                </c:pt>
                <c:pt idx="229">
                  <c:v>0</c:v>
                </c:pt>
                <c:pt idx="230">
                  <c:v>2.3014959723819999</c:v>
                </c:pt>
                <c:pt idx="231">
                  <c:v>0</c:v>
                </c:pt>
                <c:pt idx="232">
                  <c:v>4.6002392124389999</c:v>
                </c:pt>
                <c:pt idx="233">
                  <c:v>2.2991677012920002</c:v>
                </c:pt>
                <c:pt idx="234">
                  <c:v>4.5953770506870004</c:v>
                </c:pt>
                <c:pt idx="235">
                  <c:v>4.5935827648769996</c:v>
                </c:pt>
                <c:pt idx="236">
                  <c:v>0</c:v>
                </c:pt>
                <c:pt idx="237">
                  <c:v>2.296527650192</c:v>
                </c:pt>
                <c:pt idx="238">
                  <c:v>9.1850559140270001</c:v>
                </c:pt>
                <c:pt idx="239">
                  <c:v>6.8868942402600002</c:v>
                </c:pt>
                <c:pt idx="240">
                  <c:v>4.590103736344</c:v>
                </c:pt>
                <c:pt idx="241">
                  <c:v>18.350728294528999</c:v>
                </c:pt>
                <c:pt idx="242">
                  <c:v>4.5854732208359996</c:v>
                </c:pt>
                <c:pt idx="243">
                  <c:v>11.463157412077001</c:v>
                </c:pt>
                <c:pt idx="244">
                  <c:v>2.292578922029</c:v>
                </c:pt>
                <c:pt idx="245">
                  <c:v>0</c:v>
                </c:pt>
                <c:pt idx="246">
                  <c:v>4.5825313903399998</c:v>
                </c:pt>
                <c:pt idx="247">
                  <c:v>9.1638029782349992</c:v>
                </c:pt>
                <c:pt idx="248">
                  <c:v>11.448196908986001</c:v>
                </c:pt>
                <c:pt idx="249">
                  <c:v>11.441647597254001</c:v>
                </c:pt>
                <c:pt idx="250">
                  <c:v>2.2882247952029999</c:v>
                </c:pt>
                <c:pt idx="251">
                  <c:v>2.2880677268039999</c:v>
                </c:pt>
                <c:pt idx="252">
                  <c:v>6.8624759813339997</c:v>
                </c:pt>
                <c:pt idx="253">
                  <c:v>16.012443956445999</c:v>
                </c:pt>
                <c:pt idx="254">
                  <c:v>13.716480351141</c:v>
                </c:pt>
                <c:pt idx="255">
                  <c:v>9.1418123643009999</c:v>
                </c:pt>
                <c:pt idx="256">
                  <c:v>11.422827378232</c:v>
                </c:pt>
                <c:pt idx="257">
                  <c:v>11.422827378232</c:v>
                </c:pt>
                <c:pt idx="258">
                  <c:v>13.707392853879</c:v>
                </c:pt>
                <c:pt idx="259">
                  <c:v>29.695280734615</c:v>
                </c:pt>
                <c:pt idx="260">
                  <c:v>27.401013837511002</c:v>
                </c:pt>
                <c:pt idx="261">
                  <c:v>25.111288665677002</c:v>
                </c:pt>
                <c:pt idx="262">
                  <c:v>22.819588334626001</c:v>
                </c:pt>
                <c:pt idx="263">
                  <c:v>25.096392963884</c:v>
                </c:pt>
                <c:pt idx="264">
                  <c:v>15.970067530571001</c:v>
                </c:pt>
                <c:pt idx="265">
                  <c:v>18.251505749223998</c:v>
                </c:pt>
                <c:pt idx="266">
                  <c:v>50.167605408980002</c:v>
                </c:pt>
                <c:pt idx="267">
                  <c:v>38.75968992248</c:v>
                </c:pt>
                <c:pt idx="268">
                  <c:v>38.754388364564001</c:v>
                </c:pt>
                <c:pt idx="269">
                  <c:v>36.467236467235999</c:v>
                </c:pt>
                <c:pt idx="270">
                  <c:v>68.349585345847998</c:v>
                </c:pt>
                <c:pt idx="271">
                  <c:v>34.170900061506998</c:v>
                </c:pt>
                <c:pt idx="272">
                  <c:v>36.448129755341</c:v>
                </c:pt>
                <c:pt idx="273">
                  <c:v>100.20496470052301</c:v>
                </c:pt>
                <c:pt idx="274">
                  <c:v>56.930749436385</c:v>
                </c:pt>
                <c:pt idx="275">
                  <c:v>61.468412066021003</c:v>
                </c:pt>
                <c:pt idx="276">
                  <c:v>45.517649468580998</c:v>
                </c:pt>
                <c:pt idx="277">
                  <c:v>63.688472386497999</c:v>
                </c:pt>
                <c:pt idx="278">
                  <c:v>40.936071501671002</c:v>
                </c:pt>
                <c:pt idx="279">
                  <c:v>34.112617119985003</c:v>
                </c:pt>
                <c:pt idx="280">
                  <c:v>88.660543784667993</c:v>
                </c:pt>
                <c:pt idx="281">
                  <c:v>90.894630399709001</c:v>
                </c:pt>
                <c:pt idx="282">
                  <c:v>81.760577774748995</c:v>
                </c:pt>
                <c:pt idx="283">
                  <c:v>81.755007494208996</c:v>
                </c:pt>
                <c:pt idx="284">
                  <c:v>77.190274025471993</c:v>
                </c:pt>
                <c:pt idx="285">
                  <c:v>83.989739631806998</c:v>
                </c:pt>
                <c:pt idx="286">
                  <c:v>43.126929362628999</c:v>
                </c:pt>
                <c:pt idx="287">
                  <c:v>99.818511796733006</c:v>
                </c:pt>
                <c:pt idx="288">
                  <c:v>90.711175616835007</c:v>
                </c:pt>
                <c:pt idx="289">
                  <c:v>65.741748277111995</c:v>
                </c:pt>
                <c:pt idx="290">
                  <c:v>81.569764807178004</c:v>
                </c:pt>
                <c:pt idx="291">
                  <c:v>117.724298748047</c:v>
                </c:pt>
                <c:pt idx="292">
                  <c:v>67.900955140101999</c:v>
                </c:pt>
                <c:pt idx="293">
                  <c:v>42.995180014029998</c:v>
                </c:pt>
                <c:pt idx="294">
                  <c:v>104.053564965617</c:v>
                </c:pt>
                <c:pt idx="295">
                  <c:v>128.90094979647199</c:v>
                </c:pt>
                <c:pt idx="296">
                  <c:v>74.603246371569</c:v>
                </c:pt>
                <c:pt idx="297">
                  <c:v>101.66504755664999</c:v>
                </c:pt>
                <c:pt idx="298">
                  <c:v>94.833815028901</c:v>
                </c:pt>
                <c:pt idx="299">
                  <c:v>63.212552206795003</c:v>
                </c:pt>
                <c:pt idx="300">
                  <c:v>76.752900808161996</c:v>
                </c:pt>
                <c:pt idx="301">
                  <c:v>112.805703456366</c:v>
                </c:pt>
                <c:pt idx="302">
                  <c:v>81.161511407700999</c:v>
                </c:pt>
                <c:pt idx="303">
                  <c:v>92.421441774491001</c:v>
                </c:pt>
                <c:pt idx="304">
                  <c:v>72.096428973751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5C3-4E3F-BFF5-5996318E7C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7466795309236889"/>
          <c:h val="0.90552881115878769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31750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06</c:f>
              <c:numCache>
                <c:formatCode>m/d/yyyy</c:formatCode>
                <c:ptCount val="305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</c:numCache>
            </c:numRef>
          </c:cat>
          <c:val>
            <c:numRef>
              <c:f>List1!$B$2:$B$306</c:f>
              <c:numCache>
                <c:formatCode>General</c:formatCode>
                <c:ptCount val="305"/>
                <c:pt idx="0">
                  <c:v>125.285072479372</c:v>
                </c:pt>
                <c:pt idx="1">
                  <c:v>111.458528550151</c:v>
                </c:pt>
                <c:pt idx="2">
                  <c:v>136.21946247998901</c:v>
                </c:pt>
                <c:pt idx="3">
                  <c:v>110.004400176007</c:v>
                </c:pt>
                <c:pt idx="4">
                  <c:v>110.396322798847</c:v>
                </c:pt>
                <c:pt idx="5">
                  <c:v>54.372998771572</c:v>
                </c:pt>
                <c:pt idx="6">
                  <c:v>30.293544445677998</c:v>
                </c:pt>
                <c:pt idx="7">
                  <c:v>131.68774691452501</c:v>
                </c:pt>
                <c:pt idx="8">
                  <c:v>121.184500813075</c:v>
                </c:pt>
                <c:pt idx="9">
                  <c:v>108.424476562417</c:v>
                </c:pt>
                <c:pt idx="10">
                  <c:v>116.09657515103299</c:v>
                </c:pt>
                <c:pt idx="11">
                  <c:v>112.676056338028</c:v>
                </c:pt>
                <c:pt idx="12">
                  <c:v>53.149671690048002</c:v>
                </c:pt>
                <c:pt idx="13">
                  <c:v>29.964375686682999</c:v>
                </c:pt>
                <c:pt idx="14">
                  <c:v>141.05495455527799</c:v>
                </c:pt>
                <c:pt idx="15">
                  <c:v>138.33690899072599</c:v>
                </c:pt>
                <c:pt idx="16">
                  <c:v>137.38746881666</c:v>
                </c:pt>
                <c:pt idx="17">
                  <c:v>133.27520707479599</c:v>
                </c:pt>
                <c:pt idx="18">
                  <c:v>157.54687980325801</c:v>
                </c:pt>
                <c:pt idx="19">
                  <c:v>73.289274050453002</c:v>
                </c:pt>
                <c:pt idx="20">
                  <c:v>42.567462979205999</c:v>
                </c:pt>
                <c:pt idx="21">
                  <c:v>162.49422022590599</c:v>
                </c:pt>
                <c:pt idx="22">
                  <c:v>205.07285483000501</c:v>
                </c:pt>
                <c:pt idx="23">
                  <c:v>170.69309656548899</c:v>
                </c:pt>
                <c:pt idx="24">
                  <c:v>175.468149021589</c:v>
                </c:pt>
                <c:pt idx="25">
                  <c:v>195.85978155200999</c:v>
                </c:pt>
                <c:pt idx="26">
                  <c:v>103.159252095422</c:v>
                </c:pt>
                <c:pt idx="27">
                  <c:v>50.181369808020001</c:v>
                </c:pt>
                <c:pt idx="28">
                  <c:v>166.86254878915801</c:v>
                </c:pt>
                <c:pt idx="29">
                  <c:v>200.673795224842</c:v>
                </c:pt>
                <c:pt idx="30">
                  <c:v>162.551166674055</c:v>
                </c:pt>
                <c:pt idx="31">
                  <c:v>162.720568476995</c:v>
                </c:pt>
                <c:pt idx="32">
                  <c:v>162.59428210107899</c:v>
                </c:pt>
                <c:pt idx="33">
                  <c:v>90.365528563037003</c:v>
                </c:pt>
                <c:pt idx="34">
                  <c:v>55.749758919961003</c:v>
                </c:pt>
                <c:pt idx="35">
                  <c:v>157.63307869528299</c:v>
                </c:pt>
                <c:pt idx="36">
                  <c:v>169.44753995756099</c:v>
                </c:pt>
                <c:pt idx="37">
                  <c:v>185.72239873524501</c:v>
                </c:pt>
                <c:pt idx="38">
                  <c:v>131.174863809626</c:v>
                </c:pt>
                <c:pt idx="39">
                  <c:v>161.658868698801</c:v>
                </c:pt>
                <c:pt idx="40">
                  <c:v>74.618744850528998</c:v>
                </c:pt>
                <c:pt idx="41">
                  <c:v>45.082158347194003</c:v>
                </c:pt>
                <c:pt idx="42">
                  <c:v>154.37633519936301</c:v>
                </c:pt>
                <c:pt idx="43">
                  <c:v>142.45237237989301</c:v>
                </c:pt>
                <c:pt idx="44">
                  <c:v>141.551721426212</c:v>
                </c:pt>
                <c:pt idx="45">
                  <c:v>127.964106857928</c:v>
                </c:pt>
                <c:pt idx="46">
                  <c:v>119.233092747448</c:v>
                </c:pt>
                <c:pt idx="47">
                  <c:v>44.517226576783997</c:v>
                </c:pt>
                <c:pt idx="48">
                  <c:v>34.981714103991003</c:v>
                </c:pt>
                <c:pt idx="49">
                  <c:v>147.061174251506</c:v>
                </c:pt>
                <c:pt idx="50">
                  <c:v>101.20319352299499</c:v>
                </c:pt>
                <c:pt idx="51">
                  <c:v>105.03522719927599</c:v>
                </c:pt>
                <c:pt idx="52">
                  <c:v>75.005299287449006</c:v>
                </c:pt>
                <c:pt idx="53">
                  <c:v>87.307470554320005</c:v>
                </c:pt>
                <c:pt idx="54">
                  <c:v>44.522863314809001</c:v>
                </c:pt>
                <c:pt idx="55">
                  <c:v>23.110318757325</c:v>
                </c:pt>
                <c:pt idx="56">
                  <c:v>86.538301519412002</c:v>
                </c:pt>
                <c:pt idx="57">
                  <c:v>88.899325707000997</c:v>
                </c:pt>
                <c:pt idx="58">
                  <c:v>57.572473584393997</c:v>
                </c:pt>
                <c:pt idx="59">
                  <c:v>83.902672899435998</c:v>
                </c:pt>
                <c:pt idx="60">
                  <c:v>43.41860747842</c:v>
                </c:pt>
                <c:pt idx="61">
                  <c:v>36.501425293749001</c:v>
                </c:pt>
                <c:pt idx="62">
                  <c:v>39.990263240254002</c:v>
                </c:pt>
                <c:pt idx="63">
                  <c:v>36.875746294865003</c:v>
                </c:pt>
                <c:pt idx="64">
                  <c:v>113.471153505194</c:v>
                </c:pt>
                <c:pt idx="65">
                  <c:v>85.982982534705997</c:v>
                </c:pt>
                <c:pt idx="66">
                  <c:v>61.686956837273001</c:v>
                </c:pt>
                <c:pt idx="67">
                  <c:v>47.911253616377998</c:v>
                </c:pt>
                <c:pt idx="68">
                  <c:v>22.159846358397999</c:v>
                </c:pt>
                <c:pt idx="69">
                  <c:v>14.784424608674</c:v>
                </c:pt>
                <c:pt idx="70">
                  <c:v>35.525307106931002</c:v>
                </c:pt>
                <c:pt idx="71">
                  <c:v>49.237761575607998</c:v>
                </c:pt>
                <c:pt idx="72">
                  <c:v>44.160282625808001</c:v>
                </c:pt>
                <c:pt idx="73">
                  <c:v>37.124601887491998</c:v>
                </c:pt>
                <c:pt idx="74">
                  <c:v>45.204402515722997</c:v>
                </c:pt>
                <c:pt idx="75">
                  <c:v>11.82825375547</c:v>
                </c:pt>
                <c:pt idx="76">
                  <c:v>9.8820088147509999</c:v>
                </c:pt>
                <c:pt idx="77">
                  <c:v>51.491266289064001</c:v>
                </c:pt>
                <c:pt idx="78">
                  <c:v>46.400903808907998</c:v>
                </c:pt>
                <c:pt idx="79">
                  <c:v>34.784743820591999</c:v>
                </c:pt>
                <c:pt idx="80">
                  <c:v>24.936101240570999</c:v>
                </c:pt>
                <c:pt idx="81">
                  <c:v>16.910101671985998</c:v>
                </c:pt>
                <c:pt idx="82">
                  <c:v>17.001020061203</c:v>
                </c:pt>
                <c:pt idx="83">
                  <c:v>6.3922270519040003</c:v>
                </c:pt>
                <c:pt idx="84">
                  <c:v>21.528988783395999</c:v>
                </c:pt>
                <c:pt idx="85">
                  <c:v>21.788391145197</c:v>
                </c:pt>
                <c:pt idx="86">
                  <c:v>13.232180663373001</c:v>
                </c:pt>
                <c:pt idx="87">
                  <c:v>31.213769731561001</c:v>
                </c:pt>
                <c:pt idx="88">
                  <c:v>27.121708667646001</c:v>
                </c:pt>
                <c:pt idx="89">
                  <c:v>6.7950169875419997</c:v>
                </c:pt>
                <c:pt idx="90">
                  <c:v>6.8112158020200004</c:v>
                </c:pt>
                <c:pt idx="91">
                  <c:v>36.615785980730003</c:v>
                </c:pt>
                <c:pt idx="92">
                  <c:v>18.429357967241</c:v>
                </c:pt>
                <c:pt idx="93">
                  <c:v>16.216466663576998</c:v>
                </c:pt>
                <c:pt idx="94">
                  <c:v>11.661807580174001</c:v>
                </c:pt>
                <c:pt idx="95">
                  <c:v>32.829940906106003</c:v>
                </c:pt>
                <c:pt idx="96">
                  <c:v>11.74039635578</c:v>
                </c:pt>
                <c:pt idx="97">
                  <c:v>7.057329036204</c:v>
                </c:pt>
                <c:pt idx="98">
                  <c:v>23.609405987344999</c:v>
                </c:pt>
                <c:pt idx="99">
                  <c:v>42.663127207224001</c:v>
                </c:pt>
                <c:pt idx="100">
                  <c:v>9.5274390243900005</c:v>
                </c:pt>
                <c:pt idx="101">
                  <c:v>16.750819593671999</c:v>
                </c:pt>
                <c:pt idx="102">
                  <c:v>14.426544842509999</c:v>
                </c:pt>
                <c:pt idx="103">
                  <c:v>0</c:v>
                </c:pt>
                <c:pt idx="104">
                  <c:v>2.4076080414100001</c:v>
                </c:pt>
                <c:pt idx="105">
                  <c:v>9.6515780330080005</c:v>
                </c:pt>
                <c:pt idx="106">
                  <c:v>4.8350054393809998</c:v>
                </c:pt>
                <c:pt idx="107">
                  <c:v>4.8506014745819996</c:v>
                </c:pt>
                <c:pt idx="108">
                  <c:v>9.7392320615510002</c:v>
                </c:pt>
                <c:pt idx="109">
                  <c:v>4.8890192627350002</c:v>
                </c:pt>
                <c:pt idx="110">
                  <c:v>7.3362189127719999</c:v>
                </c:pt>
                <c:pt idx="111">
                  <c:v>0</c:v>
                </c:pt>
                <c:pt idx="112">
                  <c:v>4.904605424493</c:v>
                </c:pt>
                <c:pt idx="113">
                  <c:v>12.285917880924</c:v>
                </c:pt>
                <c:pt idx="114">
                  <c:v>14.799832268567</c:v>
                </c:pt>
                <c:pt idx="115">
                  <c:v>7.4248236604380002</c:v>
                </c:pt>
                <c:pt idx="116">
                  <c:v>4.9696849219750003</c:v>
                </c:pt>
                <c:pt idx="117">
                  <c:v>0</c:v>
                </c:pt>
                <c:pt idx="118">
                  <c:v>0</c:v>
                </c:pt>
                <c:pt idx="119">
                  <c:v>7.5129598557510002</c:v>
                </c:pt>
                <c:pt idx="120">
                  <c:v>2.5211143325340002</c:v>
                </c:pt>
                <c:pt idx="121">
                  <c:v>0</c:v>
                </c:pt>
                <c:pt idx="122">
                  <c:v>10.24800163968</c:v>
                </c:pt>
                <c:pt idx="123">
                  <c:v>2.586050841759</c:v>
                </c:pt>
                <c:pt idx="124">
                  <c:v>0</c:v>
                </c:pt>
                <c:pt idx="125">
                  <c:v>2.592688618096</c:v>
                </c:pt>
                <c:pt idx="126">
                  <c:v>2.6111705877740001</c:v>
                </c:pt>
                <c:pt idx="127">
                  <c:v>0</c:v>
                </c:pt>
                <c:pt idx="128">
                  <c:v>2.648234951404</c:v>
                </c:pt>
                <c:pt idx="129">
                  <c:v>2.674654969508</c:v>
                </c:pt>
                <c:pt idx="131">
                  <c:v>2.7133360466690002</c:v>
                </c:pt>
                <c:pt idx="132">
                  <c:v>2.7199042593699998</c:v>
                </c:pt>
                <c:pt idx="133">
                  <c:v>2.736801773447</c:v>
                </c:pt>
                <c:pt idx="135">
                  <c:v>0</c:v>
                </c:pt>
                <c:pt idx="136">
                  <c:v>5.5939361731880002</c:v>
                </c:pt>
                <c:pt idx="137">
                  <c:v>8.468834688346</c:v>
                </c:pt>
                <c:pt idx="138">
                  <c:v>0</c:v>
                </c:pt>
                <c:pt idx="139">
                  <c:v>0</c:v>
                </c:pt>
                <c:pt idx="141">
                  <c:v>0</c:v>
                </c:pt>
                <c:pt idx="142">
                  <c:v>5.7725055560360001</c:v>
                </c:pt>
                <c:pt idx="143">
                  <c:v>2.906554279901</c:v>
                </c:pt>
                <c:pt idx="145">
                  <c:v>0</c:v>
                </c:pt>
                <c:pt idx="146">
                  <c:v>2.943340691685</c:v>
                </c:pt>
                <c:pt idx="147">
                  <c:v>0</c:v>
                </c:pt>
                <c:pt idx="148">
                  <c:v>5.9552167698899998</c:v>
                </c:pt>
                <c:pt idx="150">
                  <c:v>3.0169552887219999</c:v>
                </c:pt>
                <c:pt idx="151">
                  <c:v>3.0384977667039998</c:v>
                </c:pt>
                <c:pt idx="153">
                  <c:v>3.050733701455</c:v>
                </c:pt>
                <c:pt idx="154">
                  <c:v>6.1328999417369996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3.1492095484029998</c:v>
                </c:pt>
                <c:pt idx="159">
                  <c:v>3.1536787662800001</c:v>
                </c:pt>
                <c:pt idx="161">
                  <c:v>3.1769228325440002</c:v>
                </c:pt>
                <c:pt idx="162">
                  <c:v>6.397338707097</c:v>
                </c:pt>
                <c:pt idx="163">
                  <c:v>3.2231032037639999</c:v>
                </c:pt>
                <c:pt idx="164">
                  <c:v>9.7440561257630005</c:v>
                </c:pt>
                <c:pt idx="165">
                  <c:v>0</c:v>
                </c:pt>
                <c:pt idx="166">
                  <c:v>0</c:v>
                </c:pt>
                <c:pt idx="167">
                  <c:v>6.5569470854369998</c:v>
                </c:pt>
                <c:pt idx="168">
                  <c:v>6.5631870836469997</c:v>
                </c:pt>
                <c:pt idx="169">
                  <c:v>3.285582862399</c:v>
                </c:pt>
                <c:pt idx="170">
                  <c:v>9.9189948751849997</c:v>
                </c:pt>
                <c:pt idx="171">
                  <c:v>0</c:v>
                </c:pt>
                <c:pt idx="172">
                  <c:v>6.6853857467570004</c:v>
                </c:pt>
                <c:pt idx="173">
                  <c:v>0</c:v>
                </c:pt>
                <c:pt idx="174">
                  <c:v>3.3540164346800001</c:v>
                </c:pt>
                <c:pt idx="175">
                  <c:v>3.3727950352449998</c:v>
                </c:pt>
                <c:pt idx="176">
                  <c:v>0</c:v>
                </c:pt>
                <c:pt idx="177">
                  <c:v>0</c:v>
                </c:pt>
                <c:pt idx="178">
                  <c:v>6.865774116031</c:v>
                </c:pt>
                <c:pt idx="179">
                  <c:v>0</c:v>
                </c:pt>
                <c:pt idx="180">
                  <c:v>3.4593697028400001</c:v>
                </c:pt>
                <c:pt idx="181">
                  <c:v>0</c:v>
                </c:pt>
                <c:pt idx="182">
                  <c:v>0</c:v>
                </c:pt>
                <c:pt idx="183">
                  <c:v>3.5117291754450002</c:v>
                </c:pt>
                <c:pt idx="184">
                  <c:v>3.5350678733029999</c:v>
                </c:pt>
                <c:pt idx="185">
                  <c:v>0</c:v>
                </c:pt>
                <c:pt idx="186">
                  <c:v>3.583458754389</c:v>
                </c:pt>
                <c:pt idx="187">
                  <c:v>0</c:v>
                </c:pt>
                <c:pt idx="188">
                  <c:v>0</c:v>
                </c:pt>
                <c:pt idx="189">
                  <c:v>7.2385088671729996</c:v>
                </c:pt>
                <c:pt idx="190">
                  <c:v>3.6416605972320002</c:v>
                </c:pt>
                <c:pt idx="191">
                  <c:v>3.6627353307449999</c:v>
                </c:pt>
                <c:pt idx="192">
                  <c:v>0</c:v>
                </c:pt>
                <c:pt idx="193">
                  <c:v>7.3994598394309996</c:v>
                </c:pt>
                <c:pt idx="194">
                  <c:v>7.417572228609</c:v>
                </c:pt>
                <c:pt idx="195">
                  <c:v>0</c:v>
                </c:pt>
                <c:pt idx="196">
                  <c:v>7.4587901842319999</c:v>
                </c:pt>
                <c:pt idx="197">
                  <c:v>7.4965328535550002</c:v>
                </c:pt>
                <c:pt idx="198">
                  <c:v>7.5352271870990002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11.540236959532001</c:v>
                </c:pt>
                <c:pt idx="204">
                  <c:v>0</c:v>
                </c:pt>
                <c:pt idx="205">
                  <c:v>0</c:v>
                </c:pt>
                <c:pt idx="206">
                  <c:v>3.9109859595600001</c:v>
                </c:pt>
                <c:pt idx="207">
                  <c:v>0</c:v>
                </c:pt>
                <c:pt idx="208">
                  <c:v>7.8780478197499999</c:v>
                </c:pt>
                <c:pt idx="209">
                  <c:v>3.944928794035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16.119282691919999</c:v>
                </c:pt>
                <c:pt idx="214">
                  <c:v>8.1079985405600006</c:v>
                </c:pt>
                <c:pt idx="215">
                  <c:v>4.0561369351819998</c:v>
                </c:pt>
                <c:pt idx="216">
                  <c:v>0</c:v>
                </c:pt>
                <c:pt idx="217">
                  <c:v>4.076973255055</c:v>
                </c:pt>
                <c:pt idx="218">
                  <c:v>12.287528158918001</c:v>
                </c:pt>
                <c:pt idx="219">
                  <c:v>0</c:v>
                </c:pt>
                <c:pt idx="220">
                  <c:v>8.2579792724719994</c:v>
                </c:pt>
                <c:pt idx="221">
                  <c:v>0</c:v>
                </c:pt>
                <c:pt idx="222">
                  <c:v>0</c:v>
                </c:pt>
                <c:pt idx="223">
                  <c:v>4.1461088768190004</c:v>
                </c:pt>
                <c:pt idx="224">
                  <c:v>8.3104795146669996</c:v>
                </c:pt>
                <c:pt idx="225">
                  <c:v>12.494793835901</c:v>
                </c:pt>
                <c:pt idx="226">
                  <c:v>8.3451556371520006</c:v>
                </c:pt>
                <c:pt idx="227">
                  <c:v>8.3629521220989993</c:v>
                </c:pt>
                <c:pt idx="228">
                  <c:v>20.952939697439</c:v>
                </c:pt>
                <c:pt idx="229">
                  <c:v>4.1907635571200004</c:v>
                </c:pt>
                <c:pt idx="230">
                  <c:v>0</c:v>
                </c:pt>
                <c:pt idx="231">
                  <c:v>25.195263290501</c:v>
                </c:pt>
                <c:pt idx="232">
                  <c:v>21.022536158762001</c:v>
                </c:pt>
                <c:pt idx="233">
                  <c:v>16.842814434291</c:v>
                </c:pt>
                <c:pt idx="234">
                  <c:v>12.644889357218</c:v>
                </c:pt>
                <c:pt idx="235">
                  <c:v>12.669453946534</c:v>
                </c:pt>
                <c:pt idx="236">
                  <c:v>16.890465332319</c:v>
                </c:pt>
                <c:pt idx="237">
                  <c:v>12.664640324214</c:v>
                </c:pt>
                <c:pt idx="238">
                  <c:v>8.4530853761620008</c:v>
                </c:pt>
                <c:pt idx="239">
                  <c:v>16.939103921402001</c:v>
                </c:pt>
                <c:pt idx="240">
                  <c:v>33.918426185024998</c:v>
                </c:pt>
                <c:pt idx="241">
                  <c:v>33.977489912932</c:v>
                </c:pt>
                <c:pt idx="242">
                  <c:v>25.530828475383998</c:v>
                </c:pt>
                <c:pt idx="243">
                  <c:v>12.770304784606999</c:v>
                </c:pt>
                <c:pt idx="244">
                  <c:v>8.5153489164210008</c:v>
                </c:pt>
                <c:pt idx="245">
                  <c:v>17.063390495690999</c:v>
                </c:pt>
                <c:pt idx="246">
                  <c:v>34.183651668589</c:v>
                </c:pt>
                <c:pt idx="247">
                  <c:v>21.401361126567</c:v>
                </c:pt>
                <c:pt idx="248">
                  <c:v>12.863942369538</c:v>
                </c:pt>
                <c:pt idx="249">
                  <c:v>12.889920082494999</c:v>
                </c:pt>
                <c:pt idx="250">
                  <c:v>12.894906511926999</c:v>
                </c:pt>
                <c:pt idx="251">
                  <c:v>8.5980826275739997</c:v>
                </c:pt>
                <c:pt idx="252">
                  <c:v>34.445640473627002</c:v>
                </c:pt>
                <c:pt idx="253">
                  <c:v>25.837567823615</c:v>
                </c:pt>
                <c:pt idx="254">
                  <c:v>30.203658957542</c:v>
                </c:pt>
                <c:pt idx="255">
                  <c:v>47.514146257180997</c:v>
                </c:pt>
                <c:pt idx="256">
                  <c:v>34.599083124297003</c:v>
                </c:pt>
                <c:pt idx="257">
                  <c:v>17.305529116552002</c:v>
                </c:pt>
                <c:pt idx="258">
                  <c:v>30.291228525682001</c:v>
                </c:pt>
                <c:pt idx="259">
                  <c:v>86.662622410954</c:v>
                </c:pt>
                <c:pt idx="260">
                  <c:v>73.765512453354006</c:v>
                </c:pt>
                <c:pt idx="261">
                  <c:v>56.479993048616002</c:v>
                </c:pt>
                <c:pt idx="262">
                  <c:v>108.76658690450201</c:v>
                </c:pt>
                <c:pt idx="263">
                  <c:v>117.69321302471501</c:v>
                </c:pt>
                <c:pt idx="264">
                  <c:v>43.605284960536999</c:v>
                </c:pt>
                <c:pt idx="265">
                  <c:v>26.167735182518999</c:v>
                </c:pt>
                <c:pt idx="266">
                  <c:v>109.17030567685499</c:v>
                </c:pt>
                <c:pt idx="267">
                  <c:v>126.775956284153</c:v>
                </c:pt>
                <c:pt idx="268">
                  <c:v>161.95395255186901</c:v>
                </c:pt>
                <c:pt idx="269">
                  <c:v>56.990048660733002</c:v>
                </c:pt>
                <c:pt idx="270">
                  <c:v>175.73920302271401</c:v>
                </c:pt>
                <c:pt idx="271">
                  <c:v>136.23978201634799</c:v>
                </c:pt>
                <c:pt idx="272">
                  <c:v>70.329670329669995</c:v>
                </c:pt>
                <c:pt idx="273">
                  <c:v>206.87530261014999</c:v>
                </c:pt>
                <c:pt idx="274">
                  <c:v>215.85903083700401</c:v>
                </c:pt>
                <c:pt idx="275">
                  <c:v>247.05519036484699</c:v>
                </c:pt>
                <c:pt idx="276">
                  <c:v>163.53591160220901</c:v>
                </c:pt>
                <c:pt idx="277">
                  <c:v>155.10059381370201</c:v>
                </c:pt>
                <c:pt idx="278">
                  <c:v>137.478380415982</c:v>
                </c:pt>
                <c:pt idx="279">
                  <c:v>39.939646756012998</c:v>
                </c:pt>
                <c:pt idx="280">
                  <c:v>271.20754045882899</c:v>
                </c:pt>
                <c:pt idx="281">
                  <c:v>245.28386032199001</c:v>
                </c:pt>
                <c:pt idx="282">
                  <c:v>313.185092389602</c:v>
                </c:pt>
                <c:pt idx="283">
                  <c:v>188.10462199928301</c:v>
                </c:pt>
                <c:pt idx="284">
                  <c:v>305.494406756817</c:v>
                </c:pt>
                <c:pt idx="285">
                  <c:v>202.38362941308699</c:v>
                </c:pt>
                <c:pt idx="286">
                  <c:v>81.026333558405994</c:v>
                </c:pt>
                <c:pt idx="287">
                  <c:v>338.69219653179101</c:v>
                </c:pt>
                <c:pt idx="288">
                  <c:v>461.89376443418001</c:v>
                </c:pt>
                <c:pt idx="289">
                  <c:v>208.93895348837199</c:v>
                </c:pt>
                <c:pt idx="290">
                  <c:v>305.54542137905798</c:v>
                </c:pt>
                <c:pt idx="291">
                  <c:v>559.01759530791696</c:v>
                </c:pt>
                <c:pt idx="292">
                  <c:v>321.05673531165399</c:v>
                </c:pt>
                <c:pt idx="293">
                  <c:v>119.348175350011</c:v>
                </c:pt>
                <c:pt idx="294">
                  <c:v>387.04326590793801</c:v>
                </c:pt>
                <c:pt idx="295">
                  <c:v>508.15355476509399</c:v>
                </c:pt>
                <c:pt idx="296">
                  <c:v>287.529564531836</c:v>
                </c:pt>
                <c:pt idx="297">
                  <c:v>432.83998882993501</c:v>
                </c:pt>
                <c:pt idx="298">
                  <c:v>336.81059082191098</c:v>
                </c:pt>
                <c:pt idx="299">
                  <c:v>173.293990913774</c:v>
                </c:pt>
                <c:pt idx="300">
                  <c:v>112.52285620516599</c:v>
                </c:pt>
                <c:pt idx="301">
                  <c:v>395.53609266845501</c:v>
                </c:pt>
                <c:pt idx="302">
                  <c:v>340.89295014440597</c:v>
                </c:pt>
                <c:pt idx="303">
                  <c:v>360.54841311257599</c:v>
                </c:pt>
                <c:pt idx="304">
                  <c:v>233.7005770973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28-48BB-953D-F4625A5DF8BB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06</c:f>
              <c:numCache>
                <c:formatCode>m/d/yyyy</c:formatCode>
                <c:ptCount val="305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</c:numCache>
            </c:numRef>
          </c:cat>
          <c:val>
            <c:numRef>
              <c:f>List1!$C$2:$C$306</c:f>
              <c:numCache>
                <c:formatCode>General</c:formatCode>
                <c:ptCount val="30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25.300442757748002</c:v>
                </c:pt>
                <c:pt idx="10">
                  <c:v>10.126582278480999</c:v>
                </c:pt>
                <c:pt idx="11">
                  <c:v>32.323232323231998</c:v>
                </c:pt>
                <c:pt idx="12">
                  <c:v>0</c:v>
                </c:pt>
                <c:pt idx="13">
                  <c:v>0</c:v>
                </c:pt>
                <c:pt idx="14">
                  <c:v>6.6715591433709998</c:v>
                </c:pt>
                <c:pt idx="15">
                  <c:v>0</c:v>
                </c:pt>
                <c:pt idx="16">
                  <c:v>5.0200803212849996</c:v>
                </c:pt>
                <c:pt idx="17">
                  <c:v>17.690504621643999</c:v>
                </c:pt>
                <c:pt idx="18">
                  <c:v>12.085078955848999</c:v>
                </c:pt>
                <c:pt idx="19">
                  <c:v>0</c:v>
                </c:pt>
                <c:pt idx="20">
                  <c:v>0</c:v>
                </c:pt>
                <c:pt idx="21">
                  <c:v>18.383028787823001</c:v>
                </c:pt>
                <c:pt idx="22">
                  <c:v>17.377402425884998</c:v>
                </c:pt>
                <c:pt idx="23">
                  <c:v>33.061130029424</c:v>
                </c:pt>
                <c:pt idx="24">
                  <c:v>12.636633600808</c:v>
                </c:pt>
                <c:pt idx="25">
                  <c:v>30.355462465470001</c:v>
                </c:pt>
                <c:pt idx="26">
                  <c:v>12.086417887898</c:v>
                </c:pt>
                <c:pt idx="27">
                  <c:v>21.120598618109</c:v>
                </c:pt>
                <c:pt idx="28">
                  <c:v>41.203131437989001</c:v>
                </c:pt>
                <c:pt idx="29">
                  <c:v>17.324016862042999</c:v>
                </c:pt>
                <c:pt idx="30">
                  <c:v>22.701475595912999</c:v>
                </c:pt>
                <c:pt idx="31">
                  <c:v>19.480700192023999</c:v>
                </c:pt>
                <c:pt idx="32">
                  <c:v>35.612535612534998</c:v>
                </c:pt>
                <c:pt idx="33">
                  <c:v>2.7369515833259999</c:v>
                </c:pt>
                <c:pt idx="34">
                  <c:v>8.2025482583250007</c:v>
                </c:pt>
                <c:pt idx="35">
                  <c:v>18.932222642938001</c:v>
                </c:pt>
                <c:pt idx="36">
                  <c:v>29.371712370830998</c:v>
                </c:pt>
                <c:pt idx="37">
                  <c:v>2.6444532592879999</c:v>
                </c:pt>
                <c:pt idx="38">
                  <c:v>18.337088070414001</c:v>
                </c:pt>
                <c:pt idx="39">
                  <c:v>23.287104119228999</c:v>
                </c:pt>
                <c:pt idx="40">
                  <c:v>12.932595313227001</c:v>
                </c:pt>
                <c:pt idx="41">
                  <c:v>7.757951900698</c:v>
                </c:pt>
                <c:pt idx="42">
                  <c:v>25.722810988784001</c:v>
                </c:pt>
                <c:pt idx="43">
                  <c:v>12.777593212542</c:v>
                </c:pt>
                <c:pt idx="44">
                  <c:v>12.677806232409001</c:v>
                </c:pt>
                <c:pt idx="45">
                  <c:v>10.068212137229001</c:v>
                </c:pt>
                <c:pt idx="46">
                  <c:v>17.441570738027</c:v>
                </c:pt>
                <c:pt idx="47">
                  <c:v>2.4908461404329998</c:v>
                </c:pt>
                <c:pt idx="48">
                  <c:v>4.979955678394</c:v>
                </c:pt>
                <c:pt idx="49">
                  <c:v>17.283950617283001</c:v>
                </c:pt>
                <c:pt idx="50">
                  <c:v>12.250098000784</c:v>
                </c:pt>
                <c:pt idx="51">
                  <c:v>19.421718336529</c:v>
                </c:pt>
                <c:pt idx="52">
                  <c:v>11.974900608324001</c:v>
                </c:pt>
                <c:pt idx="53">
                  <c:v>11.796626164916001</c:v>
                </c:pt>
                <c:pt idx="54">
                  <c:v>9.4217406665880006</c:v>
                </c:pt>
                <c:pt idx="55">
                  <c:v>9.4057892632910001</c:v>
                </c:pt>
                <c:pt idx="56">
                  <c:v>13.945380592677999</c:v>
                </c:pt>
                <c:pt idx="57">
                  <c:v>2.2986392055899998</c:v>
                </c:pt>
                <c:pt idx="58">
                  <c:v>9.0756455052859994</c:v>
                </c:pt>
                <c:pt idx="59">
                  <c:v>4.4700728621870001</c:v>
                </c:pt>
                <c:pt idx="60">
                  <c:v>4.3881782478</c:v>
                </c:pt>
                <c:pt idx="61">
                  <c:v>8.7646259695859996</c:v>
                </c:pt>
                <c:pt idx="62">
                  <c:v>2.1896691409920002</c:v>
                </c:pt>
                <c:pt idx="63">
                  <c:v>4.3245113302189999</c:v>
                </c:pt>
                <c:pt idx="64">
                  <c:v>14.954708596821</c:v>
                </c:pt>
                <c:pt idx="65">
                  <c:v>4.2195873243589999</c:v>
                </c:pt>
                <c:pt idx="66">
                  <c:v>6.234543527504</c:v>
                </c:pt>
                <c:pt idx="67">
                  <c:v>4.0830492211580003</c:v>
                </c:pt>
                <c:pt idx="68">
                  <c:v>6.108611105454</c:v>
                </c:pt>
                <c:pt idx="69">
                  <c:v>2.0339672531269999</c:v>
                </c:pt>
                <c:pt idx="70">
                  <c:v>12.046499488023001</c:v>
                </c:pt>
                <c:pt idx="71">
                  <c:v>3.9605528931829999</c:v>
                </c:pt>
                <c:pt idx="72">
                  <c:v>7.8074678429909996</c:v>
                </c:pt>
                <c:pt idx="73">
                  <c:v>5.7525263178069999</c:v>
                </c:pt>
                <c:pt idx="74">
                  <c:v>3.8122105102639998</c:v>
                </c:pt>
                <c:pt idx="75">
                  <c:v>3.8000418004590002</c:v>
                </c:pt>
                <c:pt idx="76">
                  <c:v>1.894908381179</c:v>
                </c:pt>
                <c:pt idx="77">
                  <c:v>3.7815046607039999</c:v>
                </c:pt>
                <c:pt idx="78">
                  <c:v>9.2886733916660003</c:v>
                </c:pt>
                <c:pt idx="79">
                  <c:v>11.001503538815999</c:v>
                </c:pt>
                <c:pt idx="80">
                  <c:v>1.8083182640140001</c:v>
                </c:pt>
                <c:pt idx="81">
                  <c:v>3.5632839224619999</c:v>
                </c:pt>
                <c:pt idx="82">
                  <c:v>1.773238287761</c:v>
                </c:pt>
                <c:pt idx="83">
                  <c:v>1.768940935062</c:v>
                </c:pt>
                <c:pt idx="84">
                  <c:v>3.507049168829</c:v>
                </c:pt>
                <c:pt idx="85">
                  <c:v>1.7362919748579999</c:v>
                </c:pt>
                <c:pt idx="86">
                  <c:v>0</c:v>
                </c:pt>
                <c:pt idx="87">
                  <c:v>3.4091877610150001</c:v>
                </c:pt>
                <c:pt idx="88">
                  <c:v>6.747069241798</c:v>
                </c:pt>
                <c:pt idx="89">
                  <c:v>3.367683707146</c:v>
                </c:pt>
                <c:pt idx="90">
                  <c:v>1.6810395548599999</c:v>
                </c:pt>
                <c:pt idx="91">
                  <c:v>5.0142907285760003</c:v>
                </c:pt>
                <c:pt idx="92">
                  <c:v>9.9815341618000009</c:v>
                </c:pt>
                <c:pt idx="93">
                  <c:v>6.6282229734199998</c:v>
                </c:pt>
                <c:pt idx="94">
                  <c:v>3.2984794009959999</c:v>
                </c:pt>
                <c:pt idx="95">
                  <c:v>3.2862846908419998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1.6316141558840001</c:v>
                </c:pt>
                <c:pt idx="100">
                  <c:v>3.2525613920960001</c:v>
                </c:pt>
                <c:pt idx="101">
                  <c:v>3.2425947242980002</c:v>
                </c:pt>
                <c:pt idx="102">
                  <c:v>1.6162399793119999</c:v>
                </c:pt>
                <c:pt idx="103">
                  <c:v>1.6156393892880001</c:v>
                </c:pt>
                <c:pt idx="104">
                  <c:v>0</c:v>
                </c:pt>
                <c:pt idx="105">
                  <c:v>4.8386316349729999</c:v>
                </c:pt>
                <c:pt idx="106">
                  <c:v>1.610980442697</c:v>
                </c:pt>
                <c:pt idx="107">
                  <c:v>1.6076911946750001</c:v>
                </c:pt>
                <c:pt idx="108">
                  <c:v>3.2073898261589999</c:v>
                </c:pt>
                <c:pt idx="109">
                  <c:v>1.599641680263</c:v>
                </c:pt>
                <c:pt idx="110">
                  <c:v>0</c:v>
                </c:pt>
                <c:pt idx="111">
                  <c:v>0</c:v>
                </c:pt>
                <c:pt idx="112">
                  <c:v>1.5967808897260001</c:v>
                </c:pt>
                <c:pt idx="113">
                  <c:v>3.189741790402</c:v>
                </c:pt>
                <c:pt idx="114">
                  <c:v>0</c:v>
                </c:pt>
                <c:pt idx="115">
                  <c:v>0</c:v>
                </c:pt>
                <c:pt idx="116">
                  <c:v>1.5838573261319999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1.5545813512419999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1.5306669115730001</c:v>
                </c:pt>
                <c:pt idx="128">
                  <c:v>0</c:v>
                </c:pt>
                <c:pt idx="129">
                  <c:v>0</c:v>
                </c:pt>
                <c:pt idx="131">
                  <c:v>0</c:v>
                </c:pt>
                <c:pt idx="132">
                  <c:v>1.5020653398420001</c:v>
                </c:pt>
                <c:pt idx="133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1.4711074496879999</c:v>
                </c:pt>
                <c:pt idx="139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1.43800060396</c:v>
                </c:pt>
                <c:pt idx="148">
                  <c:v>0</c:v>
                </c:pt>
                <c:pt idx="150">
                  <c:v>0</c:v>
                </c:pt>
                <c:pt idx="151">
                  <c:v>1.4199099777069999</c:v>
                </c:pt>
                <c:pt idx="153">
                  <c:v>0</c:v>
                </c:pt>
                <c:pt idx="154">
                  <c:v>2.8260961720519999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1">
                  <c:v>1.388869599033</c:v>
                </c:pt>
                <c:pt idx="162">
                  <c:v>1.3844854559799999</c:v>
                </c:pt>
                <c:pt idx="163">
                  <c:v>2.7593818984539999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4.1038548876909999</c:v>
                </c:pt>
                <c:pt idx="169">
                  <c:v>0</c:v>
                </c:pt>
                <c:pt idx="170">
                  <c:v>1.363177840181</c:v>
                </c:pt>
                <c:pt idx="171">
                  <c:v>0</c:v>
                </c:pt>
                <c:pt idx="172">
                  <c:v>2.713152004341</c:v>
                </c:pt>
                <c:pt idx="173">
                  <c:v>1.355233913373</c:v>
                </c:pt>
                <c:pt idx="174">
                  <c:v>0</c:v>
                </c:pt>
                <c:pt idx="175">
                  <c:v>2.701826434669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1.3373811402510001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1.32888599487</c:v>
                </c:pt>
                <c:pt idx="184">
                  <c:v>0</c:v>
                </c:pt>
                <c:pt idx="185">
                  <c:v>1.322016868935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1.3117850771320001</c:v>
                </c:pt>
                <c:pt idx="191">
                  <c:v>1.3091575571109999</c:v>
                </c:pt>
                <c:pt idx="192">
                  <c:v>1.3068991204560001</c:v>
                </c:pt>
                <c:pt idx="193">
                  <c:v>0</c:v>
                </c:pt>
                <c:pt idx="194">
                  <c:v>1.3036279967140001</c:v>
                </c:pt>
                <c:pt idx="195">
                  <c:v>1.3028976443610001</c:v>
                </c:pt>
                <c:pt idx="196">
                  <c:v>1.3012700395579999</c:v>
                </c:pt>
                <c:pt idx="197">
                  <c:v>1.2990724622609999</c:v>
                </c:pt>
                <c:pt idx="198">
                  <c:v>0</c:v>
                </c:pt>
                <c:pt idx="199">
                  <c:v>1.294850380038</c:v>
                </c:pt>
                <c:pt idx="200">
                  <c:v>0</c:v>
                </c:pt>
                <c:pt idx="201">
                  <c:v>0</c:v>
                </c:pt>
                <c:pt idx="202">
                  <c:v>1.290872242374</c:v>
                </c:pt>
                <c:pt idx="203">
                  <c:v>2.5762903994530002</c:v>
                </c:pt>
                <c:pt idx="204">
                  <c:v>2.572380352158</c:v>
                </c:pt>
                <c:pt idx="205">
                  <c:v>0</c:v>
                </c:pt>
                <c:pt idx="206">
                  <c:v>1.281344899606</c:v>
                </c:pt>
                <c:pt idx="207">
                  <c:v>1.279001355741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2.5479329893620002</c:v>
                </c:pt>
                <c:pt idx="212">
                  <c:v>1.271536652043</c:v>
                </c:pt>
                <c:pt idx="213">
                  <c:v>2.5382643348470002</c:v>
                </c:pt>
                <c:pt idx="214">
                  <c:v>5.0662411024139997</c:v>
                </c:pt>
                <c:pt idx="215">
                  <c:v>0</c:v>
                </c:pt>
                <c:pt idx="216">
                  <c:v>1.2657426745139999</c:v>
                </c:pt>
                <c:pt idx="217">
                  <c:v>1.2637911206029999</c:v>
                </c:pt>
                <c:pt idx="218">
                  <c:v>3.7854411931710001</c:v>
                </c:pt>
                <c:pt idx="219">
                  <c:v>1.2601124020259999</c:v>
                </c:pt>
                <c:pt idx="220">
                  <c:v>2.516672958349</c:v>
                </c:pt>
                <c:pt idx="221">
                  <c:v>0</c:v>
                </c:pt>
                <c:pt idx="222">
                  <c:v>1.2565655550249999</c:v>
                </c:pt>
                <c:pt idx="223">
                  <c:v>1.256218280488</c:v>
                </c:pt>
                <c:pt idx="224">
                  <c:v>1.2552091178389999</c:v>
                </c:pt>
                <c:pt idx="225">
                  <c:v>2.5083087728089999</c:v>
                </c:pt>
                <c:pt idx="226">
                  <c:v>1.2532741787920001</c:v>
                </c:pt>
                <c:pt idx="227">
                  <c:v>7.5138066196629998</c:v>
                </c:pt>
                <c:pt idx="228">
                  <c:v>1.251298221905</c:v>
                </c:pt>
                <c:pt idx="229">
                  <c:v>1.2511103604439999</c:v>
                </c:pt>
                <c:pt idx="230">
                  <c:v>2.5020642029669999</c:v>
                </c:pt>
                <c:pt idx="231">
                  <c:v>5</c:v>
                </c:pt>
                <c:pt idx="232">
                  <c:v>2.4987194063040001</c:v>
                </c:pt>
                <c:pt idx="233">
                  <c:v>2.4972842034279998</c:v>
                </c:pt>
                <c:pt idx="234">
                  <c:v>2.4961621506929998</c:v>
                </c:pt>
                <c:pt idx="235">
                  <c:v>4.9887752556739997</c:v>
                </c:pt>
                <c:pt idx="236">
                  <c:v>3.741208160822</c:v>
                </c:pt>
                <c:pt idx="237">
                  <c:v>3.7409282489960001</c:v>
                </c:pt>
                <c:pt idx="238">
                  <c:v>3.7391098425829998</c:v>
                </c:pt>
                <c:pt idx="239">
                  <c:v>6.2274255822639999</c:v>
                </c:pt>
                <c:pt idx="240">
                  <c:v>4.9794597286190001</c:v>
                </c:pt>
                <c:pt idx="241">
                  <c:v>9.9524769226940002</c:v>
                </c:pt>
                <c:pt idx="242">
                  <c:v>2.486448853747</c:v>
                </c:pt>
                <c:pt idx="243">
                  <c:v>2.4862015812239999</c:v>
                </c:pt>
                <c:pt idx="244">
                  <c:v>7.4582338902140002</c:v>
                </c:pt>
                <c:pt idx="245">
                  <c:v>7.4541569348500003</c:v>
                </c:pt>
                <c:pt idx="246">
                  <c:v>6.2089433620180001</c:v>
                </c:pt>
                <c:pt idx="247">
                  <c:v>4.964750273061</c:v>
                </c:pt>
                <c:pt idx="248">
                  <c:v>6.202781327147</c:v>
                </c:pt>
                <c:pt idx="249">
                  <c:v>7.439092430723</c:v>
                </c:pt>
                <c:pt idx="250">
                  <c:v>2.4794822840989998</c:v>
                </c:pt>
                <c:pt idx="251">
                  <c:v>2.4793900700420002</c:v>
                </c:pt>
                <c:pt idx="252">
                  <c:v>12.391573729863</c:v>
                </c:pt>
                <c:pt idx="253">
                  <c:v>16.108646625858</c:v>
                </c:pt>
                <c:pt idx="254">
                  <c:v>18.576541543339001</c:v>
                </c:pt>
                <c:pt idx="255">
                  <c:v>12.380834468243</c:v>
                </c:pt>
                <c:pt idx="256">
                  <c:v>11.138889576474</c:v>
                </c:pt>
                <c:pt idx="257">
                  <c:v>7.4252830889170003</c:v>
                </c:pt>
                <c:pt idx="258">
                  <c:v>3.7124577707920001</c:v>
                </c:pt>
                <c:pt idx="259">
                  <c:v>18.555629778074</c:v>
                </c:pt>
                <c:pt idx="260">
                  <c:v>14.838813389555</c:v>
                </c:pt>
                <c:pt idx="261">
                  <c:v>16.069817174926001</c:v>
                </c:pt>
                <c:pt idx="262">
                  <c:v>33.362989323843003</c:v>
                </c:pt>
                <c:pt idx="263">
                  <c:v>19.760161045312</c:v>
                </c:pt>
                <c:pt idx="264">
                  <c:v>29.638045370907001</c:v>
                </c:pt>
                <c:pt idx="265">
                  <c:v>6.1743640405029998</c:v>
                </c:pt>
                <c:pt idx="266">
                  <c:v>50.612285206399001</c:v>
                </c:pt>
                <c:pt idx="267">
                  <c:v>48.129134169216996</c:v>
                </c:pt>
                <c:pt idx="268">
                  <c:v>49.346772104269</c:v>
                </c:pt>
                <c:pt idx="269">
                  <c:v>25.89619325959</c:v>
                </c:pt>
                <c:pt idx="270">
                  <c:v>50.528702767985997</c:v>
                </c:pt>
                <c:pt idx="271">
                  <c:v>39.434120372652004</c:v>
                </c:pt>
                <c:pt idx="272">
                  <c:v>25.877684809799</c:v>
                </c:pt>
                <c:pt idx="273">
                  <c:v>78.841036759632999</c:v>
                </c:pt>
                <c:pt idx="274">
                  <c:v>67.742332799604995</c:v>
                </c:pt>
                <c:pt idx="275">
                  <c:v>76.338697563317993</c:v>
                </c:pt>
                <c:pt idx="276">
                  <c:v>79.996061732344998</c:v>
                </c:pt>
                <c:pt idx="277">
                  <c:v>94.701628376051005</c:v>
                </c:pt>
                <c:pt idx="278">
                  <c:v>63.94569534795</c:v>
                </c:pt>
                <c:pt idx="279">
                  <c:v>23.361900429121</c:v>
                </c:pt>
                <c:pt idx="280">
                  <c:v>89.719166717876007</c:v>
                </c:pt>
                <c:pt idx="281">
                  <c:v>111.753797787029</c:v>
                </c:pt>
                <c:pt idx="282">
                  <c:v>119.024246588789</c:v>
                </c:pt>
                <c:pt idx="283">
                  <c:v>65.020303509868995</c:v>
                </c:pt>
                <c:pt idx="284">
                  <c:v>115.228557068781</c:v>
                </c:pt>
                <c:pt idx="285">
                  <c:v>63.729395183527998</c:v>
                </c:pt>
                <c:pt idx="286">
                  <c:v>44.112241146918002</c:v>
                </c:pt>
                <c:pt idx="287">
                  <c:v>102.845389098388</c:v>
                </c:pt>
                <c:pt idx="288">
                  <c:v>155.387796552103</c:v>
                </c:pt>
                <c:pt idx="289">
                  <c:v>90.472289804751</c:v>
                </c:pt>
                <c:pt idx="290">
                  <c:v>122.13591284381199</c:v>
                </c:pt>
                <c:pt idx="291">
                  <c:v>137.848586137067</c:v>
                </c:pt>
                <c:pt idx="292">
                  <c:v>101.231857543602</c:v>
                </c:pt>
                <c:pt idx="293">
                  <c:v>71.949464647203001</c:v>
                </c:pt>
                <c:pt idx="294">
                  <c:v>131.58055044530201</c:v>
                </c:pt>
                <c:pt idx="295">
                  <c:v>180.20211859247499</c:v>
                </c:pt>
                <c:pt idx="296">
                  <c:v>96.097703386530995</c:v>
                </c:pt>
                <c:pt idx="297">
                  <c:v>148.27418570734</c:v>
                </c:pt>
                <c:pt idx="298">
                  <c:v>140.805748758845</c:v>
                </c:pt>
                <c:pt idx="299">
                  <c:v>84.947332653754003</c:v>
                </c:pt>
                <c:pt idx="300">
                  <c:v>64.304000194124995</c:v>
                </c:pt>
                <c:pt idx="301">
                  <c:v>140.59413140703199</c:v>
                </c:pt>
                <c:pt idx="302">
                  <c:v>108.93509888886101</c:v>
                </c:pt>
                <c:pt idx="303">
                  <c:v>107.69863743072101</c:v>
                </c:pt>
                <c:pt idx="304">
                  <c:v>97.904126477627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828-48BB-953D-F4625A5DF8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7466795309236889"/>
          <c:h val="0.90552881115878769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31750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06</c:f>
              <c:numCache>
                <c:formatCode>m/d/yyyy</c:formatCode>
                <c:ptCount val="305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</c:numCache>
            </c:numRef>
          </c:cat>
          <c:val>
            <c:numRef>
              <c:f>List1!$B$2:$B$306</c:f>
              <c:numCache>
                <c:formatCode>General</c:formatCode>
                <c:ptCount val="305"/>
                <c:pt idx="0">
                  <c:v>109.994228025658</c:v>
                </c:pt>
                <c:pt idx="1">
                  <c:v>141.25067066694399</c:v>
                </c:pt>
                <c:pt idx="2">
                  <c:v>146.38065574131301</c:v>
                </c:pt>
                <c:pt idx="3">
                  <c:v>86.122183086928004</c:v>
                </c:pt>
                <c:pt idx="4">
                  <c:v>111.752860209342</c:v>
                </c:pt>
                <c:pt idx="5">
                  <c:v>50.999478918366997</c:v>
                </c:pt>
                <c:pt idx="6">
                  <c:v>42.218469469379997</c:v>
                </c:pt>
                <c:pt idx="7">
                  <c:v>138.63887926118801</c:v>
                </c:pt>
                <c:pt idx="8">
                  <c:v>163.775187494352</c:v>
                </c:pt>
                <c:pt idx="9">
                  <c:v>146.600696353307</c:v>
                </c:pt>
                <c:pt idx="10">
                  <c:v>112.852372808395</c:v>
                </c:pt>
                <c:pt idx="11">
                  <c:v>118.591606086121</c:v>
                </c:pt>
                <c:pt idx="12">
                  <c:v>60.623350688252998</c:v>
                </c:pt>
                <c:pt idx="13">
                  <c:v>25.024130411468001</c:v>
                </c:pt>
                <c:pt idx="14">
                  <c:v>143.196932187757</c:v>
                </c:pt>
                <c:pt idx="15">
                  <c:v>144.163849671902</c:v>
                </c:pt>
                <c:pt idx="16">
                  <c:v>160.53204907694001</c:v>
                </c:pt>
                <c:pt idx="17">
                  <c:v>159.22735578178001</c:v>
                </c:pt>
                <c:pt idx="18">
                  <c:v>139.63508697271101</c:v>
                </c:pt>
                <c:pt idx="19">
                  <c:v>73.295219819026997</c:v>
                </c:pt>
                <c:pt idx="20">
                  <c:v>40.082837864920002</c:v>
                </c:pt>
                <c:pt idx="21">
                  <c:v>158.947954733796</c:v>
                </c:pt>
                <c:pt idx="22">
                  <c:v>198.445510170332</c:v>
                </c:pt>
                <c:pt idx="23">
                  <c:v>187.23451822043299</c:v>
                </c:pt>
                <c:pt idx="24">
                  <c:v>195.121951219512</c:v>
                </c:pt>
                <c:pt idx="25">
                  <c:v>190.21739130434699</c:v>
                </c:pt>
                <c:pt idx="26">
                  <c:v>103.10459388245999</c:v>
                </c:pt>
                <c:pt idx="27">
                  <c:v>41.545492314082999</c:v>
                </c:pt>
                <c:pt idx="28">
                  <c:v>210.86077411900601</c:v>
                </c:pt>
                <c:pt idx="29">
                  <c:v>225.34637919253299</c:v>
                </c:pt>
                <c:pt idx="30">
                  <c:v>222.059897735573</c:v>
                </c:pt>
                <c:pt idx="31">
                  <c:v>207.16101259127501</c:v>
                </c:pt>
                <c:pt idx="32">
                  <c:v>181.683899556868</c:v>
                </c:pt>
                <c:pt idx="33">
                  <c:v>87.156911986290993</c:v>
                </c:pt>
                <c:pt idx="34">
                  <c:v>38.406995982037003</c:v>
                </c:pt>
                <c:pt idx="35">
                  <c:v>154.227158809484</c:v>
                </c:pt>
                <c:pt idx="36">
                  <c:v>196.55726964083601</c:v>
                </c:pt>
                <c:pt idx="37">
                  <c:v>176.31940708863701</c:v>
                </c:pt>
                <c:pt idx="38">
                  <c:v>147.08530947949799</c:v>
                </c:pt>
                <c:pt idx="39">
                  <c:v>180.84000180839999</c:v>
                </c:pt>
                <c:pt idx="40">
                  <c:v>87.402049427365</c:v>
                </c:pt>
                <c:pt idx="41">
                  <c:v>42.197272247758001</c:v>
                </c:pt>
                <c:pt idx="42">
                  <c:v>139.04001934469801</c:v>
                </c:pt>
                <c:pt idx="43">
                  <c:v>175.82684087670901</c:v>
                </c:pt>
                <c:pt idx="44">
                  <c:v>138.407251931617</c:v>
                </c:pt>
                <c:pt idx="45">
                  <c:v>118.940514493969</c:v>
                </c:pt>
                <c:pt idx="46">
                  <c:v>99.482690011936995</c:v>
                </c:pt>
                <c:pt idx="47">
                  <c:v>38.256717879659</c:v>
                </c:pt>
                <c:pt idx="48">
                  <c:v>24.484674124289999</c:v>
                </c:pt>
                <c:pt idx="49">
                  <c:v>121.417044493967</c:v>
                </c:pt>
                <c:pt idx="50">
                  <c:v>106.51435628280301</c:v>
                </c:pt>
                <c:pt idx="51">
                  <c:v>89.950372208435994</c:v>
                </c:pt>
                <c:pt idx="52">
                  <c:v>96.850787303174002</c:v>
                </c:pt>
                <c:pt idx="53">
                  <c:v>88.170925637270997</c:v>
                </c:pt>
                <c:pt idx="54">
                  <c:v>28.361642454226999</c:v>
                </c:pt>
                <c:pt idx="55">
                  <c:v>9.4635731297610004</c:v>
                </c:pt>
                <c:pt idx="56">
                  <c:v>98.704110548602998</c:v>
                </c:pt>
                <c:pt idx="57">
                  <c:v>115.69238679821299</c:v>
                </c:pt>
                <c:pt idx="58">
                  <c:v>91.002161301330005</c:v>
                </c:pt>
                <c:pt idx="59">
                  <c:v>50.899776697752998</c:v>
                </c:pt>
                <c:pt idx="60">
                  <c:v>29.968034096962999</c:v>
                </c:pt>
                <c:pt idx="61">
                  <c:v>13.340225783320999</c:v>
                </c:pt>
                <c:pt idx="62">
                  <c:v>26.707618348133</c:v>
                </c:pt>
                <c:pt idx="63">
                  <c:v>15.208097467006001</c:v>
                </c:pt>
                <c:pt idx="64">
                  <c:v>80.454654387345997</c:v>
                </c:pt>
                <c:pt idx="65">
                  <c:v>67.673086933888001</c:v>
                </c:pt>
                <c:pt idx="66">
                  <c:v>73.864335836513007</c:v>
                </c:pt>
                <c:pt idx="67">
                  <c:v>59.055118110236002</c:v>
                </c:pt>
                <c:pt idx="68">
                  <c:v>23.316712702227001</c:v>
                </c:pt>
                <c:pt idx="69">
                  <c:v>7.1809417805139999</c:v>
                </c:pt>
                <c:pt idx="70">
                  <c:v>47.303689687795</c:v>
                </c:pt>
                <c:pt idx="71">
                  <c:v>55.298519842951997</c:v>
                </c:pt>
                <c:pt idx="72">
                  <c:v>44.903457566231999</c:v>
                </c:pt>
                <c:pt idx="73">
                  <c:v>30.476770986114001</c:v>
                </c:pt>
                <c:pt idx="74">
                  <c:v>36.402651645783003</c:v>
                </c:pt>
                <c:pt idx="75">
                  <c:v>13.461020729971001</c:v>
                </c:pt>
                <c:pt idx="76">
                  <c:v>7.710694733595</c:v>
                </c:pt>
                <c:pt idx="77">
                  <c:v>44.429849131685998</c:v>
                </c:pt>
                <c:pt idx="78">
                  <c:v>43.243243243243001</c:v>
                </c:pt>
                <c:pt idx="79">
                  <c:v>51.723794935046001</c:v>
                </c:pt>
                <c:pt idx="80">
                  <c:v>20.195900232252001</c:v>
                </c:pt>
                <c:pt idx="81">
                  <c:v>28.783486502599999</c:v>
                </c:pt>
                <c:pt idx="82">
                  <c:v>8.2829454153889994</c:v>
                </c:pt>
                <c:pt idx="83">
                  <c:v>4.1542040545030003</c:v>
                </c:pt>
                <c:pt idx="84">
                  <c:v>25.153014169531001</c:v>
                </c:pt>
                <c:pt idx="85">
                  <c:v>33.914831379696999</c:v>
                </c:pt>
                <c:pt idx="86">
                  <c:v>23.589963542783</c:v>
                </c:pt>
                <c:pt idx="87">
                  <c:v>41.187054258524</c:v>
                </c:pt>
                <c:pt idx="88">
                  <c:v>35.141664836371</c:v>
                </c:pt>
                <c:pt idx="89">
                  <c:v>13.205097167506</c:v>
                </c:pt>
                <c:pt idx="90">
                  <c:v>8.8220374495480005</c:v>
                </c:pt>
                <c:pt idx="91">
                  <c:v>22.196080172241</c:v>
                </c:pt>
                <c:pt idx="92">
                  <c:v>31.273035941652999</c:v>
                </c:pt>
                <c:pt idx="93">
                  <c:v>26.968110209677</c:v>
                </c:pt>
                <c:pt idx="94">
                  <c:v>29.384507583463002</c:v>
                </c:pt>
                <c:pt idx="95">
                  <c:v>29.563595842902998</c:v>
                </c:pt>
                <c:pt idx="96">
                  <c:v>9.1143163123470003</c:v>
                </c:pt>
                <c:pt idx="97">
                  <c:v>4.5642301284829996</c:v>
                </c:pt>
                <c:pt idx="98">
                  <c:v>16.023806798671998</c:v>
                </c:pt>
                <c:pt idx="99">
                  <c:v>29.890554584751001</c:v>
                </c:pt>
                <c:pt idx="100">
                  <c:v>11.558555642886001</c:v>
                </c:pt>
                <c:pt idx="101">
                  <c:v>23.213705371650999</c:v>
                </c:pt>
                <c:pt idx="102">
                  <c:v>18.638460463165</c:v>
                </c:pt>
                <c:pt idx="103">
                  <c:v>11.657185489134999</c:v>
                </c:pt>
                <c:pt idx="104">
                  <c:v>4.6667911144290004</c:v>
                </c:pt>
                <c:pt idx="105">
                  <c:v>9.3536619586559997</c:v>
                </c:pt>
                <c:pt idx="106">
                  <c:v>11.715912552428</c:v>
                </c:pt>
                <c:pt idx="107">
                  <c:v>4.6972614965470001</c:v>
                </c:pt>
                <c:pt idx="108">
                  <c:v>14.127952153335</c:v>
                </c:pt>
                <c:pt idx="109">
                  <c:v>9.4509025611940007</c:v>
                </c:pt>
                <c:pt idx="110">
                  <c:v>2.3638426626319999</c:v>
                </c:pt>
                <c:pt idx="111">
                  <c:v>0</c:v>
                </c:pt>
                <c:pt idx="112">
                  <c:v>9.4822681585430004</c:v>
                </c:pt>
                <c:pt idx="113">
                  <c:v>0</c:v>
                </c:pt>
                <c:pt idx="114">
                  <c:v>9.5319797922019998</c:v>
                </c:pt>
                <c:pt idx="115">
                  <c:v>0</c:v>
                </c:pt>
                <c:pt idx="116">
                  <c:v>2.3990020151609999</c:v>
                </c:pt>
                <c:pt idx="117">
                  <c:v>2.4120796951129999</c:v>
                </c:pt>
                <c:pt idx="118">
                  <c:v>0</c:v>
                </c:pt>
                <c:pt idx="119">
                  <c:v>2.4234199302050001</c:v>
                </c:pt>
                <c:pt idx="120">
                  <c:v>2.4417043096079998</c:v>
                </c:pt>
                <c:pt idx="121">
                  <c:v>2.456881725713</c:v>
                </c:pt>
                <c:pt idx="122">
                  <c:v>2.48151273016</c:v>
                </c:pt>
                <c:pt idx="123">
                  <c:v>5.0020008003200003</c:v>
                </c:pt>
                <c:pt idx="124">
                  <c:v>2.5065169440539998</c:v>
                </c:pt>
                <c:pt idx="125">
                  <c:v>0</c:v>
                </c:pt>
                <c:pt idx="126">
                  <c:v>2.527869764149</c:v>
                </c:pt>
                <c:pt idx="127">
                  <c:v>2.5459544783329999</c:v>
                </c:pt>
                <c:pt idx="128">
                  <c:v>5.1283366240159998</c:v>
                </c:pt>
                <c:pt idx="129">
                  <c:v>2.586652871184</c:v>
                </c:pt>
                <c:pt idx="131">
                  <c:v>2.621438120953</c:v>
                </c:pt>
                <c:pt idx="132">
                  <c:v>0</c:v>
                </c:pt>
                <c:pt idx="133">
                  <c:v>0</c:v>
                </c:pt>
                <c:pt idx="135">
                  <c:v>2.6829071982400001</c:v>
                </c:pt>
                <c:pt idx="136">
                  <c:v>5.4061359643189997</c:v>
                </c:pt>
                <c:pt idx="137">
                  <c:v>0</c:v>
                </c:pt>
                <c:pt idx="138">
                  <c:v>2.7373261797869999</c:v>
                </c:pt>
                <c:pt idx="139">
                  <c:v>2.7424308907410002</c:v>
                </c:pt>
                <c:pt idx="141">
                  <c:v>2.77361735175</c:v>
                </c:pt>
                <c:pt idx="142">
                  <c:v>5.5798900761650003</c:v>
                </c:pt>
                <c:pt idx="143">
                  <c:v>5.6178197241649999</c:v>
                </c:pt>
                <c:pt idx="145">
                  <c:v>2.8433323855550001</c:v>
                </c:pt>
                <c:pt idx="146">
                  <c:v>5.6971941318899999</c:v>
                </c:pt>
                <c:pt idx="147">
                  <c:v>0</c:v>
                </c:pt>
                <c:pt idx="148">
                  <c:v>2.8850869853719998</c:v>
                </c:pt>
                <c:pt idx="150">
                  <c:v>0</c:v>
                </c:pt>
                <c:pt idx="151">
                  <c:v>2.9494174900450001</c:v>
                </c:pt>
                <c:pt idx="153">
                  <c:v>0</c:v>
                </c:pt>
                <c:pt idx="154">
                  <c:v>0</c:v>
                </c:pt>
                <c:pt idx="155">
                  <c:v>3.0034539720670002</c:v>
                </c:pt>
                <c:pt idx="156">
                  <c:v>0</c:v>
                </c:pt>
                <c:pt idx="157">
                  <c:v>3.048408730642</c:v>
                </c:pt>
                <c:pt idx="158">
                  <c:v>12.30390649031</c:v>
                </c:pt>
                <c:pt idx="159">
                  <c:v>0</c:v>
                </c:pt>
                <c:pt idx="161">
                  <c:v>3.1112908745830001</c:v>
                </c:pt>
                <c:pt idx="162">
                  <c:v>0</c:v>
                </c:pt>
                <c:pt idx="163">
                  <c:v>6.3149253260079998</c:v>
                </c:pt>
                <c:pt idx="164">
                  <c:v>3.18420633657</c:v>
                </c:pt>
                <c:pt idx="165">
                  <c:v>9.6323647455450008</c:v>
                </c:pt>
                <c:pt idx="166">
                  <c:v>3.2190568163519999</c:v>
                </c:pt>
                <c:pt idx="167">
                  <c:v>3.2240384305380001</c:v>
                </c:pt>
                <c:pt idx="168">
                  <c:v>6.4589052155650002</c:v>
                </c:pt>
                <c:pt idx="169">
                  <c:v>6.4716541548009996</c:v>
                </c:pt>
                <c:pt idx="170">
                  <c:v>3.259027506192</c:v>
                </c:pt>
                <c:pt idx="171">
                  <c:v>6.5634024678390004</c:v>
                </c:pt>
                <c:pt idx="172">
                  <c:v>3.3046926635820002</c:v>
                </c:pt>
                <c:pt idx="173">
                  <c:v>0</c:v>
                </c:pt>
                <c:pt idx="174">
                  <c:v>3.318510652419</c:v>
                </c:pt>
                <c:pt idx="175">
                  <c:v>6.6773504273500004</c:v>
                </c:pt>
                <c:pt idx="176">
                  <c:v>3.3575073865160001</c:v>
                </c:pt>
                <c:pt idx="177">
                  <c:v>0</c:v>
                </c:pt>
                <c:pt idx="178">
                  <c:v>10.218679746576001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3.509264458169</c:v>
                </c:pt>
                <c:pt idx="184">
                  <c:v>7.0736365565529997</c:v>
                </c:pt>
                <c:pt idx="185">
                  <c:v>0</c:v>
                </c:pt>
                <c:pt idx="186">
                  <c:v>7.1846822574270002</c:v>
                </c:pt>
                <c:pt idx="187">
                  <c:v>3.6068530207389999</c:v>
                </c:pt>
                <c:pt idx="188">
                  <c:v>0</c:v>
                </c:pt>
                <c:pt idx="189">
                  <c:v>21.832472163597</c:v>
                </c:pt>
                <c:pt idx="190">
                  <c:v>0</c:v>
                </c:pt>
                <c:pt idx="191">
                  <c:v>0</c:v>
                </c:pt>
                <c:pt idx="192">
                  <c:v>7.4302485418130004</c:v>
                </c:pt>
                <c:pt idx="193">
                  <c:v>14.956066554495999</c:v>
                </c:pt>
                <c:pt idx="194">
                  <c:v>7.4970948757349998</c:v>
                </c:pt>
                <c:pt idx="195">
                  <c:v>3.7581269495280001</c:v>
                </c:pt>
                <c:pt idx="196">
                  <c:v>0</c:v>
                </c:pt>
                <c:pt idx="197">
                  <c:v>3.8006917258940001</c:v>
                </c:pt>
                <c:pt idx="198">
                  <c:v>3.8239455470150001</c:v>
                </c:pt>
                <c:pt idx="199">
                  <c:v>0</c:v>
                </c:pt>
                <c:pt idx="200">
                  <c:v>7.7489345215030001</c:v>
                </c:pt>
                <c:pt idx="201">
                  <c:v>3.8869669996499998</c:v>
                </c:pt>
                <c:pt idx="202">
                  <c:v>3.8959015116089999</c:v>
                </c:pt>
                <c:pt idx="203">
                  <c:v>0</c:v>
                </c:pt>
                <c:pt idx="204">
                  <c:v>7.9026394815860002</c:v>
                </c:pt>
                <c:pt idx="205">
                  <c:v>7.9592486469269996</c:v>
                </c:pt>
                <c:pt idx="206">
                  <c:v>8.0041621643250007</c:v>
                </c:pt>
                <c:pt idx="207">
                  <c:v>4.0337219152110002</c:v>
                </c:pt>
                <c:pt idx="208">
                  <c:v>0</c:v>
                </c:pt>
                <c:pt idx="209">
                  <c:v>4.049402713099</c:v>
                </c:pt>
                <c:pt idx="210">
                  <c:v>0</c:v>
                </c:pt>
                <c:pt idx="211">
                  <c:v>4.0976889034579997</c:v>
                </c:pt>
                <c:pt idx="212">
                  <c:v>4.1235412972659997</c:v>
                </c:pt>
                <c:pt idx="213">
                  <c:v>12.43935812912</c:v>
                </c:pt>
                <c:pt idx="214">
                  <c:v>12.541806020066</c:v>
                </c:pt>
                <c:pt idx="215">
                  <c:v>16.765161993376999</c:v>
                </c:pt>
                <c:pt idx="216">
                  <c:v>4.1986816139730001</c:v>
                </c:pt>
                <c:pt idx="217">
                  <c:v>12.683380543694</c:v>
                </c:pt>
                <c:pt idx="218">
                  <c:v>8.5026783436779994</c:v>
                </c:pt>
                <c:pt idx="219">
                  <c:v>4.2746003248689997</c:v>
                </c:pt>
                <c:pt idx="220">
                  <c:v>4.2931352766920003</c:v>
                </c:pt>
                <c:pt idx="221">
                  <c:v>4.3179757329759996</c:v>
                </c:pt>
                <c:pt idx="222">
                  <c:v>0</c:v>
                </c:pt>
                <c:pt idx="223">
                  <c:v>4.3305040706730002</c:v>
                </c:pt>
                <c:pt idx="224">
                  <c:v>0</c:v>
                </c:pt>
                <c:pt idx="225">
                  <c:v>0</c:v>
                </c:pt>
                <c:pt idx="226">
                  <c:v>4.3765591491959999</c:v>
                </c:pt>
                <c:pt idx="227">
                  <c:v>17.55849172556</c:v>
                </c:pt>
                <c:pt idx="228">
                  <c:v>13.212366775301</c:v>
                </c:pt>
                <c:pt idx="229">
                  <c:v>0</c:v>
                </c:pt>
                <c:pt idx="230">
                  <c:v>22.055580061754998</c:v>
                </c:pt>
                <c:pt idx="231">
                  <c:v>17.694417411305999</c:v>
                </c:pt>
                <c:pt idx="232">
                  <c:v>13.299051334337999</c:v>
                </c:pt>
                <c:pt idx="233">
                  <c:v>13.325634078087999</c:v>
                </c:pt>
                <c:pt idx="234">
                  <c:v>13.352323304254</c:v>
                </c:pt>
                <c:pt idx="235">
                  <c:v>22.320432123564999</c:v>
                </c:pt>
                <c:pt idx="236">
                  <c:v>13.401831583649001</c:v>
                </c:pt>
                <c:pt idx="237">
                  <c:v>8.9405453732669997</c:v>
                </c:pt>
                <c:pt idx="238">
                  <c:v>8.9589679268939992</c:v>
                </c:pt>
                <c:pt idx="239">
                  <c:v>17.953321364452002</c:v>
                </c:pt>
                <c:pt idx="240">
                  <c:v>22.491116009176</c:v>
                </c:pt>
                <c:pt idx="241">
                  <c:v>45.059252917586001</c:v>
                </c:pt>
                <c:pt idx="242">
                  <c:v>49.728752260397002</c:v>
                </c:pt>
                <c:pt idx="243">
                  <c:v>18.097090892638999</c:v>
                </c:pt>
                <c:pt idx="244">
                  <c:v>18.111840615801999</c:v>
                </c:pt>
                <c:pt idx="245">
                  <c:v>22.695292996231998</c:v>
                </c:pt>
                <c:pt idx="246">
                  <c:v>36.378518484833997</c:v>
                </c:pt>
                <c:pt idx="247">
                  <c:v>31.879041807086001</c:v>
                </c:pt>
                <c:pt idx="248">
                  <c:v>27.378507871320998</c:v>
                </c:pt>
                <c:pt idx="249">
                  <c:v>22.884342532839</c:v>
                </c:pt>
                <c:pt idx="250">
                  <c:v>18.325087044162998</c:v>
                </c:pt>
                <c:pt idx="251">
                  <c:v>13.755788894493</c:v>
                </c:pt>
                <c:pt idx="252">
                  <c:v>45.947436133063</c:v>
                </c:pt>
                <c:pt idx="253">
                  <c:v>82.754815870534003</c:v>
                </c:pt>
                <c:pt idx="254">
                  <c:v>32.249147701096</c:v>
                </c:pt>
                <c:pt idx="255">
                  <c:v>46.185109920560997</c:v>
                </c:pt>
                <c:pt idx="256">
                  <c:v>13.885031935573</c:v>
                </c:pt>
                <c:pt idx="257">
                  <c:v>23.159942563342</c:v>
                </c:pt>
                <c:pt idx="258">
                  <c:v>27.809965237543</c:v>
                </c:pt>
                <c:pt idx="259">
                  <c:v>125.42388628234301</c:v>
                </c:pt>
                <c:pt idx="260">
                  <c:v>97.719869706840001</c:v>
                </c:pt>
                <c:pt idx="261">
                  <c:v>125.84479142391</c:v>
                </c:pt>
                <c:pt idx="262">
                  <c:v>130.682348548492</c:v>
                </c:pt>
                <c:pt idx="263">
                  <c:v>84.218406400597999</c:v>
                </c:pt>
                <c:pt idx="264">
                  <c:v>74.920397078104003</c:v>
                </c:pt>
                <c:pt idx="265">
                  <c:v>37.481259370314</c:v>
                </c:pt>
                <c:pt idx="266">
                  <c:v>145.50574982398399</c:v>
                </c:pt>
                <c:pt idx="267">
                  <c:v>197.53550935941999</c:v>
                </c:pt>
                <c:pt idx="268">
                  <c:v>164.837752554985</c:v>
                </c:pt>
                <c:pt idx="269">
                  <c:v>108.531521328803</c:v>
                </c:pt>
                <c:pt idx="270">
                  <c:v>184.46693784883101</c:v>
                </c:pt>
                <c:pt idx="271">
                  <c:v>132.54437869822399</c:v>
                </c:pt>
                <c:pt idx="272">
                  <c:v>80.522925350511002</c:v>
                </c:pt>
                <c:pt idx="273">
                  <c:v>270.48830256726598</c:v>
                </c:pt>
                <c:pt idx="274">
                  <c:v>299.40119760479001</c:v>
                </c:pt>
                <c:pt idx="275">
                  <c:v>247.63083956378799</c:v>
                </c:pt>
                <c:pt idx="276">
                  <c:v>257.84271594327402</c:v>
                </c:pt>
                <c:pt idx="277">
                  <c:v>268.22492575917198</c:v>
                </c:pt>
                <c:pt idx="278">
                  <c:v>100.719424460431</c:v>
                </c:pt>
                <c:pt idx="279">
                  <c:v>62.439961575407999</c:v>
                </c:pt>
                <c:pt idx="280">
                  <c:v>216.648211448654</c:v>
                </c:pt>
                <c:pt idx="281">
                  <c:v>289.84107047968598</c:v>
                </c:pt>
                <c:pt idx="282">
                  <c:v>290.93730301120098</c:v>
                </c:pt>
                <c:pt idx="283">
                  <c:v>262.22502792210901</c:v>
                </c:pt>
                <c:pt idx="284">
                  <c:v>399.61013645224102</c:v>
                </c:pt>
                <c:pt idx="285">
                  <c:v>161.117078410311</c:v>
                </c:pt>
                <c:pt idx="286">
                  <c:v>107.57420175052501</c:v>
                </c:pt>
                <c:pt idx="287">
                  <c:v>333.594976452119</c:v>
                </c:pt>
                <c:pt idx="288">
                  <c:v>388.95179951750202</c:v>
                </c:pt>
                <c:pt idx="289">
                  <c:v>316.158672133577</c:v>
                </c:pt>
                <c:pt idx="290">
                  <c:v>366.89969755565397</c:v>
                </c:pt>
                <c:pt idx="291">
                  <c:v>667.33067729083598</c:v>
                </c:pt>
                <c:pt idx="292">
                  <c:v>319.393153009282</c:v>
                </c:pt>
                <c:pt idx="293">
                  <c:v>199.900049975012</c:v>
                </c:pt>
                <c:pt idx="294">
                  <c:v>426.34298038822197</c:v>
                </c:pt>
                <c:pt idx="295">
                  <c:v>533.30650030187098</c:v>
                </c:pt>
                <c:pt idx="296">
                  <c:v>413.80702462656399</c:v>
                </c:pt>
                <c:pt idx="297">
                  <c:v>607.84115084591201</c:v>
                </c:pt>
                <c:pt idx="298">
                  <c:v>371.86083235698601</c:v>
                </c:pt>
                <c:pt idx="299">
                  <c:v>260.416666666666</c:v>
                </c:pt>
                <c:pt idx="300">
                  <c:v>163.70798588018599</c:v>
                </c:pt>
                <c:pt idx="301">
                  <c:v>478.37045419474299</c:v>
                </c:pt>
                <c:pt idx="302">
                  <c:v>465.47711404189198</c:v>
                </c:pt>
                <c:pt idx="303">
                  <c:v>342.18166735794199</c:v>
                </c:pt>
                <c:pt idx="304">
                  <c:v>317.956737034140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3D6-4329-ABC8-2C99E0955191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06</c:f>
              <c:numCache>
                <c:formatCode>m/d/yyyy</c:formatCode>
                <c:ptCount val="305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</c:numCache>
            </c:numRef>
          </c:cat>
          <c:val>
            <c:numRef>
              <c:f>List1!$C$2:$C$306</c:f>
              <c:numCache>
                <c:formatCode>General</c:formatCode>
                <c:ptCount val="30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54.570259208731002</c:v>
                </c:pt>
                <c:pt idx="9">
                  <c:v>0</c:v>
                </c:pt>
                <c:pt idx="10">
                  <c:v>16.053941242575</c:v>
                </c:pt>
                <c:pt idx="11">
                  <c:v>12.738853503184</c:v>
                </c:pt>
                <c:pt idx="12">
                  <c:v>12.442453651859999</c:v>
                </c:pt>
                <c:pt idx="13">
                  <c:v>0</c:v>
                </c:pt>
                <c:pt idx="14">
                  <c:v>10.265886459295</c:v>
                </c:pt>
                <c:pt idx="15">
                  <c:v>25.704738240082001</c:v>
                </c:pt>
                <c:pt idx="16">
                  <c:v>0</c:v>
                </c:pt>
                <c:pt idx="17">
                  <c:v>25.811447376911001</c:v>
                </c:pt>
                <c:pt idx="18">
                  <c:v>17.739932588256</c:v>
                </c:pt>
                <c:pt idx="19">
                  <c:v>11.724016648102999</c:v>
                </c:pt>
                <c:pt idx="20">
                  <c:v>0</c:v>
                </c:pt>
                <c:pt idx="21">
                  <c:v>5.4141851651320003</c:v>
                </c:pt>
                <c:pt idx="22">
                  <c:v>35.886393930072003</c:v>
                </c:pt>
                <c:pt idx="23">
                  <c:v>4.8797150246419996</c:v>
                </c:pt>
                <c:pt idx="24">
                  <c:v>18.756447528837999</c:v>
                </c:pt>
                <c:pt idx="25">
                  <c:v>40.683482506102003</c:v>
                </c:pt>
                <c:pt idx="26">
                  <c:v>13.512904824107</c:v>
                </c:pt>
                <c:pt idx="27">
                  <c:v>4.5004500450040004</c:v>
                </c:pt>
                <c:pt idx="28">
                  <c:v>8.7757788503719993</c:v>
                </c:pt>
                <c:pt idx="29">
                  <c:v>25.802012556979001</c:v>
                </c:pt>
                <c:pt idx="30">
                  <c:v>33.908362649937999</c:v>
                </c:pt>
                <c:pt idx="31">
                  <c:v>8.3347224537419997</c:v>
                </c:pt>
                <c:pt idx="32">
                  <c:v>8.2051282051280001</c:v>
                </c:pt>
                <c:pt idx="33">
                  <c:v>24.593187687010001</c:v>
                </c:pt>
                <c:pt idx="34">
                  <c:v>4.0965138666990004</c:v>
                </c:pt>
                <c:pt idx="35">
                  <c:v>16.200891049007001</c:v>
                </c:pt>
                <c:pt idx="36">
                  <c:v>8.0054437017170006</c:v>
                </c:pt>
                <c:pt idx="37">
                  <c:v>11.890135151201999</c:v>
                </c:pt>
                <c:pt idx="38">
                  <c:v>23.490721165139</c:v>
                </c:pt>
                <c:pt idx="39">
                  <c:v>23.229703046962001</c:v>
                </c:pt>
                <c:pt idx="40">
                  <c:v>3.8696695302220001</c:v>
                </c:pt>
                <c:pt idx="41">
                  <c:v>7.7330549433550004</c:v>
                </c:pt>
                <c:pt idx="42">
                  <c:v>30.691322028696</c:v>
                </c:pt>
                <c:pt idx="43">
                  <c:v>7.6115086010040001</c:v>
                </c:pt>
                <c:pt idx="44">
                  <c:v>0</c:v>
                </c:pt>
                <c:pt idx="45">
                  <c:v>22.469385462306999</c:v>
                </c:pt>
                <c:pt idx="46">
                  <c:v>22.255192878338001</c:v>
                </c:pt>
                <c:pt idx="47">
                  <c:v>3.7083735073790001</c:v>
                </c:pt>
                <c:pt idx="48">
                  <c:v>3.7061744866940001</c:v>
                </c:pt>
                <c:pt idx="49">
                  <c:v>14.66275659824</c:v>
                </c:pt>
                <c:pt idx="50">
                  <c:v>25.379790435444001</c:v>
                </c:pt>
                <c:pt idx="51">
                  <c:v>21.507688998816999</c:v>
                </c:pt>
                <c:pt idx="52">
                  <c:v>14.095922754343</c:v>
                </c:pt>
                <c:pt idx="53">
                  <c:v>0</c:v>
                </c:pt>
                <c:pt idx="54">
                  <c:v>3.4531579129110002</c:v>
                </c:pt>
                <c:pt idx="55">
                  <c:v>0</c:v>
                </c:pt>
                <c:pt idx="56">
                  <c:v>13.493910872718001</c:v>
                </c:pt>
                <c:pt idx="57">
                  <c:v>16.534938324679999</c:v>
                </c:pt>
                <c:pt idx="58">
                  <c:v>16.154044972861001</c:v>
                </c:pt>
                <c:pt idx="59">
                  <c:v>6.3255107849950001</c:v>
                </c:pt>
                <c:pt idx="60">
                  <c:v>3.0777753839519999</c:v>
                </c:pt>
                <c:pt idx="61">
                  <c:v>9.197093718384</c:v>
                </c:pt>
                <c:pt idx="62">
                  <c:v>0</c:v>
                </c:pt>
                <c:pt idx="63">
                  <c:v>0</c:v>
                </c:pt>
                <c:pt idx="64">
                  <c:v>2.9180892351679999</c:v>
                </c:pt>
                <c:pt idx="65">
                  <c:v>11.399259048160999</c:v>
                </c:pt>
                <c:pt idx="66">
                  <c:v>5.5722723726729999</c:v>
                </c:pt>
                <c:pt idx="67">
                  <c:v>2.7095865170970002</c:v>
                </c:pt>
                <c:pt idx="68">
                  <c:v>5.3959260758119996</c:v>
                </c:pt>
                <c:pt idx="69">
                  <c:v>0</c:v>
                </c:pt>
                <c:pt idx="70">
                  <c:v>2.637061258933</c:v>
                </c:pt>
                <c:pt idx="71">
                  <c:v>5.172369203713</c:v>
                </c:pt>
                <c:pt idx="72">
                  <c:v>2.5314533073429999</c:v>
                </c:pt>
                <c:pt idx="73">
                  <c:v>7.4101519081139999</c:v>
                </c:pt>
                <c:pt idx="74">
                  <c:v>4.8990789731530002</c:v>
                </c:pt>
                <c:pt idx="75">
                  <c:v>4.872225876391</c:v>
                </c:pt>
                <c:pt idx="76">
                  <c:v>2.4267132595610001</c:v>
                </c:pt>
                <c:pt idx="77">
                  <c:v>7.2551390568310001</c:v>
                </c:pt>
                <c:pt idx="78">
                  <c:v>4.7309284447069997</c:v>
                </c:pt>
                <c:pt idx="79">
                  <c:v>4.6602665672469996</c:v>
                </c:pt>
                <c:pt idx="80">
                  <c:v>4.5765543122579997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8.7642418930760009</c:v>
                </c:pt>
                <c:pt idx="85">
                  <c:v>8.6572591117650006</c:v>
                </c:pt>
                <c:pt idx="86">
                  <c:v>4.2749658002729998</c:v>
                </c:pt>
                <c:pt idx="87">
                  <c:v>6.3403499873189997</c:v>
                </c:pt>
                <c:pt idx="88">
                  <c:v>2.0855057351399999</c:v>
                </c:pt>
                <c:pt idx="89">
                  <c:v>0</c:v>
                </c:pt>
                <c:pt idx="90">
                  <c:v>0</c:v>
                </c:pt>
                <c:pt idx="91">
                  <c:v>6.1932287365810001</c:v>
                </c:pt>
                <c:pt idx="92">
                  <c:v>6.1577618588230001</c:v>
                </c:pt>
                <c:pt idx="93">
                  <c:v>0</c:v>
                </c:pt>
                <c:pt idx="94">
                  <c:v>2.03124047856</c:v>
                </c:pt>
                <c:pt idx="95">
                  <c:v>4.0410571405470002</c:v>
                </c:pt>
                <c:pt idx="96">
                  <c:v>0</c:v>
                </c:pt>
                <c:pt idx="97">
                  <c:v>0</c:v>
                </c:pt>
                <c:pt idx="98">
                  <c:v>4.0193733796900002</c:v>
                </c:pt>
                <c:pt idx="99">
                  <c:v>4.0044048453289998</c:v>
                </c:pt>
                <c:pt idx="100">
                  <c:v>7.9725743442550003</c:v>
                </c:pt>
                <c:pt idx="101">
                  <c:v>1.986294567484</c:v>
                </c:pt>
                <c:pt idx="102">
                  <c:v>1.9804333188100001</c:v>
                </c:pt>
                <c:pt idx="103">
                  <c:v>0</c:v>
                </c:pt>
                <c:pt idx="104">
                  <c:v>1.97839591659</c:v>
                </c:pt>
                <c:pt idx="105">
                  <c:v>7.9002982362580001</c:v>
                </c:pt>
                <c:pt idx="106">
                  <c:v>3.9439174932459999</c:v>
                </c:pt>
                <c:pt idx="107">
                  <c:v>1.96838769364</c:v>
                </c:pt>
                <c:pt idx="108">
                  <c:v>3.9288871427159999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1.9545756616229999</c:v>
                </c:pt>
                <c:pt idx="113">
                  <c:v>0</c:v>
                </c:pt>
                <c:pt idx="114">
                  <c:v>1.946737268338</c:v>
                </c:pt>
                <c:pt idx="115">
                  <c:v>1.9409937888190001</c:v>
                </c:pt>
                <c:pt idx="116">
                  <c:v>1.9367083704529999</c:v>
                </c:pt>
                <c:pt idx="117">
                  <c:v>1.9285287254350001</c:v>
                </c:pt>
                <c:pt idx="118">
                  <c:v>0</c:v>
                </c:pt>
                <c:pt idx="119">
                  <c:v>1.9218572828780001</c:v>
                </c:pt>
                <c:pt idx="120">
                  <c:v>0</c:v>
                </c:pt>
                <c:pt idx="121">
                  <c:v>0</c:v>
                </c:pt>
                <c:pt idx="122">
                  <c:v>1.8870772946850001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1.8614001451890001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50">
                  <c:v>0</c:v>
                </c:pt>
                <c:pt idx="151">
                  <c:v>1.6851755110290001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1.6601092351869999</c:v>
                </c:pt>
                <c:pt idx="157">
                  <c:v>4.9598254141449996</c:v>
                </c:pt>
                <c:pt idx="158">
                  <c:v>0</c:v>
                </c:pt>
                <c:pt idx="159">
                  <c:v>0</c:v>
                </c:pt>
                <c:pt idx="161">
                  <c:v>3.2691490405039998</c:v>
                </c:pt>
                <c:pt idx="162">
                  <c:v>0</c:v>
                </c:pt>
                <c:pt idx="163">
                  <c:v>3.2434360962</c:v>
                </c:pt>
                <c:pt idx="164">
                  <c:v>1.6145698785839999</c:v>
                </c:pt>
                <c:pt idx="165">
                  <c:v>3.2152790058349998</c:v>
                </c:pt>
                <c:pt idx="166">
                  <c:v>0</c:v>
                </c:pt>
                <c:pt idx="167">
                  <c:v>0</c:v>
                </c:pt>
                <c:pt idx="168">
                  <c:v>1.6024357022669999</c:v>
                </c:pt>
                <c:pt idx="169">
                  <c:v>4.8020744961819997</c:v>
                </c:pt>
                <c:pt idx="170">
                  <c:v>0</c:v>
                </c:pt>
                <c:pt idx="171">
                  <c:v>1.589319771137</c:v>
                </c:pt>
                <c:pt idx="172">
                  <c:v>1.58380715564</c:v>
                </c:pt>
                <c:pt idx="173">
                  <c:v>0</c:v>
                </c:pt>
                <c:pt idx="174">
                  <c:v>0</c:v>
                </c:pt>
                <c:pt idx="175">
                  <c:v>1.5755723266470001</c:v>
                </c:pt>
                <c:pt idx="176">
                  <c:v>4.7137200678770004</c:v>
                </c:pt>
                <c:pt idx="177">
                  <c:v>1.565484204264</c:v>
                </c:pt>
                <c:pt idx="178">
                  <c:v>1.5604275571499999</c:v>
                </c:pt>
                <c:pt idx="179">
                  <c:v>1.554847236259</c:v>
                </c:pt>
                <c:pt idx="180">
                  <c:v>1.5531809145119999</c:v>
                </c:pt>
                <c:pt idx="181">
                  <c:v>1.5510368681460001</c:v>
                </c:pt>
                <c:pt idx="182">
                  <c:v>3.0916201635460001</c:v>
                </c:pt>
                <c:pt idx="183">
                  <c:v>4.6213568303650003</c:v>
                </c:pt>
                <c:pt idx="184">
                  <c:v>1.5355557944189999</c:v>
                </c:pt>
                <c:pt idx="185">
                  <c:v>1.5308543698229999</c:v>
                </c:pt>
                <c:pt idx="186">
                  <c:v>1.5260186174270001</c:v>
                </c:pt>
                <c:pt idx="187">
                  <c:v>0</c:v>
                </c:pt>
                <c:pt idx="188">
                  <c:v>0</c:v>
                </c:pt>
                <c:pt idx="189">
                  <c:v>3.0377132094950001</c:v>
                </c:pt>
                <c:pt idx="190">
                  <c:v>1.514807240778</c:v>
                </c:pt>
                <c:pt idx="191">
                  <c:v>1.5105283828280001</c:v>
                </c:pt>
                <c:pt idx="192">
                  <c:v>0</c:v>
                </c:pt>
                <c:pt idx="193">
                  <c:v>3.0068405622790002</c:v>
                </c:pt>
                <c:pt idx="194">
                  <c:v>0</c:v>
                </c:pt>
                <c:pt idx="195">
                  <c:v>0</c:v>
                </c:pt>
                <c:pt idx="196">
                  <c:v>1.497947811498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1.484913281064</c:v>
                </c:pt>
                <c:pt idx="201">
                  <c:v>1.4834154156520001</c:v>
                </c:pt>
                <c:pt idx="202">
                  <c:v>1.4824478178360001</c:v>
                </c:pt>
                <c:pt idx="203">
                  <c:v>1.4785462932839999</c:v>
                </c:pt>
                <c:pt idx="204">
                  <c:v>1.475230873631</c:v>
                </c:pt>
                <c:pt idx="205">
                  <c:v>4.415011037527</c:v>
                </c:pt>
                <c:pt idx="206">
                  <c:v>0</c:v>
                </c:pt>
                <c:pt idx="207">
                  <c:v>1.465051203539</c:v>
                </c:pt>
                <c:pt idx="208">
                  <c:v>0</c:v>
                </c:pt>
                <c:pt idx="209">
                  <c:v>0</c:v>
                </c:pt>
                <c:pt idx="210">
                  <c:v>1.4603870025550001</c:v>
                </c:pt>
                <c:pt idx="211">
                  <c:v>0</c:v>
                </c:pt>
                <c:pt idx="212">
                  <c:v>1.4549263807249999</c:v>
                </c:pt>
                <c:pt idx="213">
                  <c:v>2.9044016206559999</c:v>
                </c:pt>
                <c:pt idx="214">
                  <c:v>4.3444890156830001</c:v>
                </c:pt>
                <c:pt idx="215">
                  <c:v>1.446989538265</c:v>
                </c:pt>
                <c:pt idx="216">
                  <c:v>0</c:v>
                </c:pt>
                <c:pt idx="217">
                  <c:v>2.885794675708</c:v>
                </c:pt>
                <c:pt idx="218">
                  <c:v>2.8805576759660001</c:v>
                </c:pt>
                <c:pt idx="219">
                  <c:v>0</c:v>
                </c:pt>
                <c:pt idx="220">
                  <c:v>2.8715003589369998</c:v>
                </c:pt>
                <c:pt idx="221">
                  <c:v>1.4330959171090001</c:v>
                </c:pt>
                <c:pt idx="222">
                  <c:v>0</c:v>
                </c:pt>
                <c:pt idx="223">
                  <c:v>2.863852454321</c:v>
                </c:pt>
                <c:pt idx="224">
                  <c:v>2.860821055642</c:v>
                </c:pt>
                <c:pt idx="225">
                  <c:v>4.2856530620989997</c:v>
                </c:pt>
                <c:pt idx="226">
                  <c:v>5.7090659968019999</c:v>
                </c:pt>
                <c:pt idx="227">
                  <c:v>4.2779528569589997</c:v>
                </c:pt>
                <c:pt idx="228">
                  <c:v>1.4245623032320001</c:v>
                </c:pt>
                <c:pt idx="229">
                  <c:v>2.8484753535670002</c:v>
                </c:pt>
                <c:pt idx="230">
                  <c:v>1.424034860373</c:v>
                </c:pt>
                <c:pt idx="231">
                  <c:v>5.6913576733719999</c:v>
                </c:pt>
                <c:pt idx="232">
                  <c:v>8.5318165659430001</c:v>
                </c:pt>
                <c:pt idx="233">
                  <c:v>7.105805443046</c:v>
                </c:pt>
                <c:pt idx="234">
                  <c:v>5.6814146722530001</c:v>
                </c:pt>
                <c:pt idx="235">
                  <c:v>0</c:v>
                </c:pt>
                <c:pt idx="236">
                  <c:v>1.4188824881519999</c:v>
                </c:pt>
                <c:pt idx="237">
                  <c:v>0</c:v>
                </c:pt>
                <c:pt idx="238">
                  <c:v>7.0892824228329996</c:v>
                </c:pt>
                <c:pt idx="239">
                  <c:v>2.8341457884589998</c:v>
                </c:pt>
                <c:pt idx="240">
                  <c:v>5.6647595309570002</c:v>
                </c:pt>
                <c:pt idx="241">
                  <c:v>2.8310566919100002</c:v>
                </c:pt>
                <c:pt idx="242">
                  <c:v>0</c:v>
                </c:pt>
                <c:pt idx="243">
                  <c:v>0</c:v>
                </c:pt>
                <c:pt idx="244">
                  <c:v>4.2423813900859999</c:v>
                </c:pt>
                <c:pt idx="245">
                  <c:v>5.6531509249959999</c:v>
                </c:pt>
                <c:pt idx="246">
                  <c:v>7.0635436385719998</c:v>
                </c:pt>
                <c:pt idx="247">
                  <c:v>8.4736188001350001</c:v>
                </c:pt>
                <c:pt idx="248">
                  <c:v>14.116517737403999</c:v>
                </c:pt>
                <c:pt idx="249">
                  <c:v>7.0527830281819996</c:v>
                </c:pt>
                <c:pt idx="250">
                  <c:v>5.6414306668169996</c:v>
                </c:pt>
                <c:pt idx="251">
                  <c:v>2.820397111913</c:v>
                </c:pt>
                <c:pt idx="252">
                  <c:v>12.685883430825999</c:v>
                </c:pt>
                <c:pt idx="253">
                  <c:v>18.323537288398001</c:v>
                </c:pt>
                <c:pt idx="254">
                  <c:v>15.497104859046001</c:v>
                </c:pt>
                <c:pt idx="255">
                  <c:v>12.671951339706</c:v>
                </c:pt>
                <c:pt idx="256">
                  <c:v>15.480311857918</c:v>
                </c:pt>
                <c:pt idx="257">
                  <c:v>5.6287290329840003</c:v>
                </c:pt>
                <c:pt idx="258">
                  <c:v>9.8498599912750002</c:v>
                </c:pt>
                <c:pt idx="259">
                  <c:v>16.87692502426</c:v>
                </c:pt>
                <c:pt idx="260">
                  <c:v>47.800475192958999</c:v>
                </c:pt>
                <c:pt idx="261">
                  <c:v>32.324708726265001</c:v>
                </c:pt>
                <c:pt idx="262">
                  <c:v>36.532246733173999</c:v>
                </c:pt>
                <c:pt idx="263">
                  <c:v>39.319215862495</c:v>
                </c:pt>
                <c:pt idx="264">
                  <c:v>16.849672835519002</c:v>
                </c:pt>
                <c:pt idx="265">
                  <c:v>18.253555933106998</c:v>
                </c:pt>
                <c:pt idx="266">
                  <c:v>68.775790921595004</c:v>
                </c:pt>
                <c:pt idx="267">
                  <c:v>61.730127107942998</c:v>
                </c:pt>
                <c:pt idx="268">
                  <c:v>40.675493716337002</c:v>
                </c:pt>
                <c:pt idx="269">
                  <c:v>25.236593059935998</c:v>
                </c:pt>
                <c:pt idx="270">
                  <c:v>60.254470040915997</c:v>
                </c:pt>
                <c:pt idx="271">
                  <c:v>36.429872495445998</c:v>
                </c:pt>
                <c:pt idx="272">
                  <c:v>35.027741971640999</c:v>
                </c:pt>
                <c:pt idx="273">
                  <c:v>109.25593904078799</c:v>
                </c:pt>
                <c:pt idx="274">
                  <c:v>92.430502065680997</c:v>
                </c:pt>
                <c:pt idx="275">
                  <c:v>74.198516029678999</c:v>
                </c:pt>
                <c:pt idx="276">
                  <c:v>85.352885207365006</c:v>
                </c:pt>
                <c:pt idx="277">
                  <c:v>106.272897614453</c:v>
                </c:pt>
                <c:pt idx="278">
                  <c:v>47.536491247693</c:v>
                </c:pt>
                <c:pt idx="279">
                  <c:v>36.345336613732002</c:v>
                </c:pt>
                <c:pt idx="280">
                  <c:v>117.37253203292001</c:v>
                </c:pt>
                <c:pt idx="281">
                  <c:v>124.270434806892</c:v>
                </c:pt>
                <c:pt idx="282">
                  <c:v>115.79564161946401</c:v>
                </c:pt>
                <c:pt idx="283">
                  <c:v>93.457943925232996</c:v>
                </c:pt>
                <c:pt idx="284">
                  <c:v>122.65663112412</c:v>
                </c:pt>
                <c:pt idx="285">
                  <c:v>87.786525465059</c:v>
                </c:pt>
                <c:pt idx="286">
                  <c:v>43.189322484918002</c:v>
                </c:pt>
                <c:pt idx="287">
                  <c:v>136.44084314872001</c:v>
                </c:pt>
                <c:pt idx="288">
                  <c:v>166.94258566241399</c:v>
                </c:pt>
                <c:pt idx="289">
                  <c:v>105.65680999847</c:v>
                </c:pt>
                <c:pt idx="290">
                  <c:v>126.41346928569401</c:v>
                </c:pt>
                <c:pt idx="291">
                  <c:v>165.147036373981</c:v>
                </c:pt>
                <c:pt idx="292">
                  <c:v>84.627016828289996</c:v>
                </c:pt>
                <c:pt idx="293">
                  <c:v>69.356785174292995</c:v>
                </c:pt>
                <c:pt idx="294">
                  <c:v>163.55723117012701</c:v>
                </c:pt>
                <c:pt idx="295">
                  <c:v>150.994625145453</c:v>
                </c:pt>
                <c:pt idx="296">
                  <c:v>138.446628824588</c:v>
                </c:pt>
                <c:pt idx="297">
                  <c:v>192.291730072213</c:v>
                </c:pt>
                <c:pt idx="298">
                  <c:v>114.67414581577501</c:v>
                </c:pt>
                <c:pt idx="299">
                  <c:v>91.151408013036999</c:v>
                </c:pt>
                <c:pt idx="300">
                  <c:v>69.035981553585003</c:v>
                </c:pt>
                <c:pt idx="301">
                  <c:v>150.31580108668601</c:v>
                </c:pt>
                <c:pt idx="302">
                  <c:v>111.567174458003</c:v>
                </c:pt>
                <c:pt idx="303">
                  <c:v>130.82696412586901</c:v>
                </c:pt>
                <c:pt idx="304">
                  <c:v>82.528678715853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3D6-4329-ABC8-2C99E09551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7466795309236889"/>
          <c:h val="0.90552881115878769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31750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06</c:f>
              <c:numCache>
                <c:formatCode>m/d/yyyy</c:formatCode>
                <c:ptCount val="305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</c:numCache>
            </c:numRef>
          </c:cat>
          <c:val>
            <c:numRef>
              <c:f>List1!$B$2:$B$306</c:f>
              <c:numCache>
                <c:formatCode>General</c:formatCode>
                <c:ptCount val="305"/>
                <c:pt idx="0">
                  <c:v>111.263583429143</c:v>
                </c:pt>
                <c:pt idx="1">
                  <c:v>113.858300436318</c:v>
                </c:pt>
                <c:pt idx="2">
                  <c:v>124.00035189289</c:v>
                </c:pt>
                <c:pt idx="3">
                  <c:v>95.210811903879005</c:v>
                </c:pt>
                <c:pt idx="4">
                  <c:v>100.17668292600401</c:v>
                </c:pt>
                <c:pt idx="5">
                  <c:v>49.616216445443001</c:v>
                </c:pt>
                <c:pt idx="6">
                  <c:v>35.735404852357</c:v>
                </c:pt>
                <c:pt idx="7">
                  <c:v>117.419859870365</c:v>
                </c:pt>
                <c:pt idx="8">
                  <c:v>124.435130001964</c:v>
                </c:pt>
                <c:pt idx="9">
                  <c:v>116.366349694205</c:v>
                </c:pt>
                <c:pt idx="10">
                  <c:v>105.192520449063</c:v>
                </c:pt>
                <c:pt idx="11">
                  <c:v>106.52649206866</c:v>
                </c:pt>
                <c:pt idx="12">
                  <c:v>51.318656197659998</c:v>
                </c:pt>
                <c:pt idx="13">
                  <c:v>26.198830409355999</c:v>
                </c:pt>
                <c:pt idx="14">
                  <c:v>127.4654501543</c:v>
                </c:pt>
                <c:pt idx="15">
                  <c:v>132.33130227827101</c:v>
                </c:pt>
                <c:pt idx="16">
                  <c:v>128.56344326439299</c:v>
                </c:pt>
                <c:pt idx="17">
                  <c:v>134.832403846658</c:v>
                </c:pt>
                <c:pt idx="18">
                  <c:v>135.23998362033601</c:v>
                </c:pt>
                <c:pt idx="19">
                  <c:v>67.622762362792997</c:v>
                </c:pt>
                <c:pt idx="20">
                  <c:v>38.543385737861001</c:v>
                </c:pt>
                <c:pt idx="21">
                  <c:v>151.86662438877801</c:v>
                </c:pt>
                <c:pt idx="22">
                  <c:v>185.17571812393101</c:v>
                </c:pt>
                <c:pt idx="23">
                  <c:v>162.80888785886</c:v>
                </c:pt>
                <c:pt idx="24">
                  <c:v>174.73023069112801</c:v>
                </c:pt>
                <c:pt idx="25">
                  <c:v>184.99831819710701</c:v>
                </c:pt>
                <c:pt idx="26">
                  <c:v>99.331170121184002</c:v>
                </c:pt>
                <c:pt idx="27">
                  <c:v>48.192771084336997</c:v>
                </c:pt>
                <c:pt idx="28">
                  <c:v>176.23670602009901</c:v>
                </c:pt>
                <c:pt idx="29">
                  <c:v>205.055574371132</c:v>
                </c:pt>
                <c:pt idx="30">
                  <c:v>182.46702870442201</c:v>
                </c:pt>
                <c:pt idx="31">
                  <c:v>167.80939857862899</c:v>
                </c:pt>
                <c:pt idx="32">
                  <c:v>160.31406408775601</c:v>
                </c:pt>
                <c:pt idx="33">
                  <c:v>80.191449192085997</c:v>
                </c:pt>
                <c:pt idx="34">
                  <c:v>44.850697712614</c:v>
                </c:pt>
                <c:pt idx="35">
                  <c:v>144.840992541959</c:v>
                </c:pt>
                <c:pt idx="36">
                  <c:v>166.28719076978101</c:v>
                </c:pt>
                <c:pt idx="37">
                  <c:v>165.874796674788</c:v>
                </c:pt>
                <c:pt idx="38">
                  <c:v>122.18458276227599</c:v>
                </c:pt>
                <c:pt idx="39">
                  <c:v>156.82038534868099</c:v>
                </c:pt>
                <c:pt idx="40">
                  <c:v>74.839582980827998</c:v>
                </c:pt>
                <c:pt idx="41">
                  <c:v>39.702427054925998</c:v>
                </c:pt>
                <c:pt idx="42">
                  <c:v>138.463447609219</c:v>
                </c:pt>
                <c:pt idx="43">
                  <c:v>152.77386190029699</c:v>
                </c:pt>
                <c:pt idx="44">
                  <c:v>123.80883389200901</c:v>
                </c:pt>
                <c:pt idx="45">
                  <c:v>111.73036619792801</c:v>
                </c:pt>
                <c:pt idx="46">
                  <c:v>99.084960366014997</c:v>
                </c:pt>
                <c:pt idx="47">
                  <c:v>38.570497559418001</c:v>
                </c:pt>
                <c:pt idx="48">
                  <c:v>28.597841195522001</c:v>
                </c:pt>
                <c:pt idx="49">
                  <c:v>119.01418809590599</c:v>
                </c:pt>
                <c:pt idx="50">
                  <c:v>98.777046095954006</c:v>
                </c:pt>
                <c:pt idx="51">
                  <c:v>87.170997060511993</c:v>
                </c:pt>
                <c:pt idx="52">
                  <c:v>79.050844685534003</c:v>
                </c:pt>
                <c:pt idx="53">
                  <c:v>80.500340578362994</c:v>
                </c:pt>
                <c:pt idx="54">
                  <c:v>37.193156459211004</c:v>
                </c:pt>
                <c:pt idx="55">
                  <c:v>14.484356894553001</c:v>
                </c:pt>
                <c:pt idx="56">
                  <c:v>88.429027002186004</c:v>
                </c:pt>
                <c:pt idx="57">
                  <c:v>95.601622415768006</c:v>
                </c:pt>
                <c:pt idx="58">
                  <c:v>67.526264162744994</c:v>
                </c:pt>
                <c:pt idx="59">
                  <c:v>61.835359759561001</c:v>
                </c:pt>
                <c:pt idx="60">
                  <c:v>34.313081314702004</c:v>
                </c:pt>
                <c:pt idx="61">
                  <c:v>23.394207009489001</c:v>
                </c:pt>
                <c:pt idx="62">
                  <c:v>31.462186841489</c:v>
                </c:pt>
                <c:pt idx="63">
                  <c:v>25.907694585291001</c:v>
                </c:pt>
                <c:pt idx="64">
                  <c:v>89.899761765630998</c:v>
                </c:pt>
                <c:pt idx="65">
                  <c:v>67.559361146534997</c:v>
                </c:pt>
                <c:pt idx="66">
                  <c:v>59.278648138881003</c:v>
                </c:pt>
                <c:pt idx="67">
                  <c:v>47.801147227533001</c:v>
                </c:pt>
                <c:pt idx="68">
                  <c:v>21.210407239818998</c:v>
                </c:pt>
                <c:pt idx="69">
                  <c:v>10.224064301499</c:v>
                </c:pt>
                <c:pt idx="70">
                  <c:v>38.245792962773997</c:v>
                </c:pt>
                <c:pt idx="71">
                  <c:v>46.853542289361002</c:v>
                </c:pt>
                <c:pt idx="72">
                  <c:v>45.911800152491999</c:v>
                </c:pt>
                <c:pt idx="73">
                  <c:v>31.727742571116</c:v>
                </c:pt>
                <c:pt idx="74">
                  <c:v>37.793212339062997</c:v>
                </c:pt>
                <c:pt idx="75">
                  <c:v>11.801896733403</c:v>
                </c:pt>
                <c:pt idx="76">
                  <c:v>9.2969793268980006</c:v>
                </c:pt>
                <c:pt idx="77">
                  <c:v>46.581746730808</c:v>
                </c:pt>
                <c:pt idx="78">
                  <c:v>42.254857152711999</c:v>
                </c:pt>
                <c:pt idx="79">
                  <c:v>41.943742954760999</c:v>
                </c:pt>
                <c:pt idx="80">
                  <c:v>20.412329046743999</c:v>
                </c:pt>
                <c:pt idx="81">
                  <c:v>22.575809568531</c:v>
                </c:pt>
                <c:pt idx="82">
                  <c:v>11.812919699406001</c:v>
                </c:pt>
                <c:pt idx="83">
                  <c:v>5.4681661593420001</c:v>
                </c:pt>
                <c:pt idx="84">
                  <c:v>22.091107408805001</c:v>
                </c:pt>
                <c:pt idx="85">
                  <c:v>25.139196663004</c:v>
                </c:pt>
                <c:pt idx="86">
                  <c:v>21.672555948174001</c:v>
                </c:pt>
                <c:pt idx="87">
                  <c:v>33.345083505616003</c:v>
                </c:pt>
                <c:pt idx="88">
                  <c:v>29.932892386422999</c:v>
                </c:pt>
                <c:pt idx="89">
                  <c:v>9.6758587324620002</c:v>
                </c:pt>
                <c:pt idx="90">
                  <c:v>6.7883395721399999</c:v>
                </c:pt>
                <c:pt idx="91">
                  <c:v>26.367959998827999</c:v>
                </c:pt>
                <c:pt idx="92">
                  <c:v>22.612200757017</c:v>
                </c:pt>
                <c:pt idx="93">
                  <c:v>19.777503090233999</c:v>
                </c:pt>
                <c:pt idx="94">
                  <c:v>17.915974081557</c:v>
                </c:pt>
                <c:pt idx="95">
                  <c:v>27.03108574861</c:v>
                </c:pt>
                <c:pt idx="96">
                  <c:v>10.028078620136</c:v>
                </c:pt>
                <c:pt idx="97">
                  <c:v>6.0265772054760003</c:v>
                </c:pt>
                <c:pt idx="98">
                  <c:v>17.128808640980001</c:v>
                </c:pt>
                <c:pt idx="99">
                  <c:v>33.385603723000003</c:v>
                </c:pt>
                <c:pt idx="100">
                  <c:v>9.152201104365</c:v>
                </c:pt>
                <c:pt idx="101">
                  <c:v>19.406964035830999</c:v>
                </c:pt>
                <c:pt idx="102">
                  <c:v>16.414128461072</c:v>
                </c:pt>
                <c:pt idx="103">
                  <c:v>6.1596583442829997</c:v>
                </c:pt>
                <c:pt idx="104">
                  <c:v>3.0820756752310001</c:v>
                </c:pt>
                <c:pt idx="105">
                  <c:v>10.297812744572999</c:v>
                </c:pt>
                <c:pt idx="106">
                  <c:v>9.2874464681899997</c:v>
                </c:pt>
                <c:pt idx="107">
                  <c:v>7.2430027419930001</c:v>
                </c:pt>
                <c:pt idx="108">
                  <c:v>11.417657926967999</c:v>
                </c:pt>
                <c:pt idx="109">
                  <c:v>7.2947821465410003</c:v>
                </c:pt>
                <c:pt idx="110">
                  <c:v>4.1702722145179996</c:v>
                </c:pt>
                <c:pt idx="111">
                  <c:v>1.043743280902</c:v>
                </c:pt>
                <c:pt idx="112">
                  <c:v>6.2760193301390004</c:v>
                </c:pt>
                <c:pt idx="113">
                  <c:v>6.289110405333</c:v>
                </c:pt>
                <c:pt idx="114">
                  <c:v>12.62320776748</c:v>
                </c:pt>
                <c:pt idx="115">
                  <c:v>3.166995682329</c:v>
                </c:pt>
                <c:pt idx="116">
                  <c:v>5.2973958002239998</c:v>
                </c:pt>
                <c:pt idx="117">
                  <c:v>1.0645659232439999</c:v>
                </c:pt>
                <c:pt idx="118">
                  <c:v>1.0654733365289999</c:v>
                </c:pt>
                <c:pt idx="119">
                  <c:v>4.2784866992539996</c:v>
                </c:pt>
                <c:pt idx="120">
                  <c:v>4.3115992799620004</c:v>
                </c:pt>
                <c:pt idx="121">
                  <c:v>1.085140091585</c:v>
                </c:pt>
                <c:pt idx="122">
                  <c:v>6.5756307125789997</c:v>
                </c:pt>
                <c:pt idx="123">
                  <c:v>3.3174097664539999</c:v>
                </c:pt>
                <c:pt idx="124">
                  <c:v>1.107959581634</c:v>
                </c:pt>
                <c:pt idx="125">
                  <c:v>1.109336173233</c:v>
                </c:pt>
                <c:pt idx="126">
                  <c:v>2.234611903777</c:v>
                </c:pt>
                <c:pt idx="127">
                  <c:v>1.125530406203</c:v>
                </c:pt>
                <c:pt idx="128">
                  <c:v>3.4001269380719998</c:v>
                </c:pt>
                <c:pt idx="129">
                  <c:v>4.5757166716229998</c:v>
                </c:pt>
                <c:pt idx="131">
                  <c:v>2.3199164830060002</c:v>
                </c:pt>
                <c:pt idx="132">
                  <c:v>1.1631829337790001</c:v>
                </c:pt>
                <c:pt idx="133">
                  <c:v>2.3409609644749998</c:v>
                </c:pt>
                <c:pt idx="135">
                  <c:v>1.186408504176</c:v>
                </c:pt>
                <c:pt idx="136">
                  <c:v>4.7828010474329998</c:v>
                </c:pt>
                <c:pt idx="137">
                  <c:v>4.8307428474809999</c:v>
                </c:pt>
                <c:pt idx="138">
                  <c:v>1.210053121332</c:v>
                </c:pt>
                <c:pt idx="139">
                  <c:v>1.2121065199200001</c:v>
                </c:pt>
                <c:pt idx="141">
                  <c:v>1.226256606457</c:v>
                </c:pt>
                <c:pt idx="142">
                  <c:v>4.9361387054970001</c:v>
                </c:pt>
                <c:pt idx="143">
                  <c:v>3.727912120684</c:v>
                </c:pt>
                <c:pt idx="145">
                  <c:v>1.2573713394770001</c:v>
                </c:pt>
                <c:pt idx="146">
                  <c:v>3.7780996158929998</c:v>
                </c:pt>
                <c:pt idx="147">
                  <c:v>0</c:v>
                </c:pt>
                <c:pt idx="148">
                  <c:v>3.8249206328960001</c:v>
                </c:pt>
                <c:pt idx="150">
                  <c:v>1.2931257435470001</c:v>
                </c:pt>
                <c:pt idx="151">
                  <c:v>2.6062367244810001</c:v>
                </c:pt>
                <c:pt idx="153">
                  <c:v>1.309106142326</c:v>
                </c:pt>
                <c:pt idx="154">
                  <c:v>2.6335887914459999</c:v>
                </c:pt>
                <c:pt idx="155">
                  <c:v>1.325521592746</c:v>
                </c:pt>
                <c:pt idx="156">
                  <c:v>0</c:v>
                </c:pt>
                <c:pt idx="157">
                  <c:v>1.3446101302919999</c:v>
                </c:pt>
                <c:pt idx="158">
                  <c:v>6.7770880208189999</c:v>
                </c:pt>
                <c:pt idx="159">
                  <c:v>1.358455707551</c:v>
                </c:pt>
                <c:pt idx="161">
                  <c:v>2.7384130896140002</c:v>
                </c:pt>
                <c:pt idx="162">
                  <c:v>4.1362765238729997</c:v>
                </c:pt>
                <c:pt idx="163">
                  <c:v>4.1673033380089999</c:v>
                </c:pt>
                <c:pt idx="164">
                  <c:v>5.6016132646200001</c:v>
                </c:pt>
                <c:pt idx="165">
                  <c:v>4.2333418000160004</c:v>
                </c:pt>
                <c:pt idx="166">
                  <c:v>4.2426813746279999</c:v>
                </c:pt>
                <c:pt idx="167">
                  <c:v>4.2485094812559998</c:v>
                </c:pt>
                <c:pt idx="168">
                  <c:v>8.5079833243520007</c:v>
                </c:pt>
                <c:pt idx="169">
                  <c:v>4.2606979023160001</c:v>
                </c:pt>
                <c:pt idx="170">
                  <c:v>7.1493937314110001</c:v>
                </c:pt>
                <c:pt idx="171">
                  <c:v>2.8769941165469999</c:v>
                </c:pt>
                <c:pt idx="172">
                  <c:v>4.3432939541340003</c:v>
                </c:pt>
                <c:pt idx="173">
                  <c:v>0</c:v>
                </c:pt>
                <c:pt idx="174">
                  <c:v>4.3606552611299998</c:v>
                </c:pt>
                <c:pt idx="175">
                  <c:v>5.8484662397280003</c:v>
                </c:pt>
                <c:pt idx="176">
                  <c:v>2.9404413602480002</c:v>
                </c:pt>
                <c:pt idx="177">
                  <c:v>0</c:v>
                </c:pt>
                <c:pt idx="178">
                  <c:v>10.429393009326001</c:v>
                </c:pt>
                <c:pt idx="179">
                  <c:v>3.0004350630840002</c:v>
                </c:pt>
                <c:pt idx="180">
                  <c:v>1.5031265031259999</c:v>
                </c:pt>
                <c:pt idx="181">
                  <c:v>0</c:v>
                </c:pt>
                <c:pt idx="182">
                  <c:v>0</c:v>
                </c:pt>
                <c:pt idx="183">
                  <c:v>3.05651496164</c:v>
                </c:pt>
                <c:pt idx="184">
                  <c:v>10.774535155768</c:v>
                </c:pt>
                <c:pt idx="185">
                  <c:v>0</c:v>
                </c:pt>
                <c:pt idx="186">
                  <c:v>7.8020160409440003</c:v>
                </c:pt>
                <c:pt idx="187">
                  <c:v>1.565263668664</c:v>
                </c:pt>
                <c:pt idx="188">
                  <c:v>1.568824323052</c:v>
                </c:pt>
                <c:pt idx="189">
                  <c:v>14.189988175009001</c:v>
                </c:pt>
                <c:pt idx="190">
                  <c:v>1.5862189299360001</c:v>
                </c:pt>
                <c:pt idx="191">
                  <c:v>4.7885840157060002</c:v>
                </c:pt>
                <c:pt idx="192">
                  <c:v>3.209294115759</c:v>
                </c:pt>
                <c:pt idx="193">
                  <c:v>9.6811669033169991</c:v>
                </c:pt>
                <c:pt idx="194">
                  <c:v>6.468409903135</c:v>
                </c:pt>
                <c:pt idx="195">
                  <c:v>1.6201153522130001</c:v>
                </c:pt>
                <c:pt idx="196">
                  <c:v>6.5096750044749996</c:v>
                </c:pt>
                <c:pt idx="197">
                  <c:v>4.906450346722</c:v>
                </c:pt>
                <c:pt idx="198">
                  <c:v>4.9330746209749998</c:v>
                </c:pt>
                <c:pt idx="199">
                  <c:v>0</c:v>
                </c:pt>
                <c:pt idx="200">
                  <c:v>4.9881946060980002</c:v>
                </c:pt>
                <c:pt idx="201">
                  <c:v>1.666583337499</c:v>
                </c:pt>
                <c:pt idx="202">
                  <c:v>1.669644198821</c:v>
                </c:pt>
                <c:pt idx="203">
                  <c:v>6.7215594017809996</c:v>
                </c:pt>
                <c:pt idx="204">
                  <c:v>3.3783783783780001</c:v>
                </c:pt>
                <c:pt idx="205">
                  <c:v>3.3995104704919998</c:v>
                </c:pt>
                <c:pt idx="206">
                  <c:v>6.8359708787639999</c:v>
                </c:pt>
                <c:pt idx="207">
                  <c:v>1.7198974941089999</c:v>
                </c:pt>
                <c:pt idx="208">
                  <c:v>3.4454244762949999</c:v>
                </c:pt>
                <c:pt idx="209">
                  <c:v>3.4502984508150001</c:v>
                </c:pt>
                <c:pt idx="210">
                  <c:v>0</c:v>
                </c:pt>
                <c:pt idx="211">
                  <c:v>1.7429497681870001</c:v>
                </c:pt>
                <c:pt idx="212">
                  <c:v>3.5045910142280001</c:v>
                </c:pt>
                <c:pt idx="213">
                  <c:v>14.091701749132</c:v>
                </c:pt>
                <c:pt idx="214">
                  <c:v>8.8672921063360004</c:v>
                </c:pt>
                <c:pt idx="215">
                  <c:v>10.653409090908999</c:v>
                </c:pt>
                <c:pt idx="216">
                  <c:v>1.7772090708749999</c:v>
                </c:pt>
                <c:pt idx="217">
                  <c:v>7.1450261686580001</c:v>
                </c:pt>
                <c:pt idx="218">
                  <c:v>8.9724724545090009</c:v>
                </c:pt>
                <c:pt idx="219">
                  <c:v>1.8021265092800001</c:v>
                </c:pt>
                <c:pt idx="220">
                  <c:v>5.4278011977340004</c:v>
                </c:pt>
                <c:pt idx="221">
                  <c:v>1.817058545626</c:v>
                </c:pt>
                <c:pt idx="222">
                  <c:v>1.8183471224650001</c:v>
                </c:pt>
                <c:pt idx="223">
                  <c:v>3.6392088359989998</c:v>
                </c:pt>
                <c:pt idx="224">
                  <c:v>3.6483700906609999</c:v>
                </c:pt>
                <c:pt idx="225">
                  <c:v>7.3171624044190002</c:v>
                </c:pt>
                <c:pt idx="226">
                  <c:v>5.4988360796959999</c:v>
                </c:pt>
                <c:pt idx="227">
                  <c:v>11.022725185089</c:v>
                </c:pt>
                <c:pt idx="228">
                  <c:v>16.572449223856001</c:v>
                </c:pt>
                <c:pt idx="229">
                  <c:v>3.6835804401869998</c:v>
                </c:pt>
                <c:pt idx="230">
                  <c:v>9.2084422998999997</c:v>
                </c:pt>
                <c:pt idx="231">
                  <c:v>18.454270318151</c:v>
                </c:pt>
                <c:pt idx="232">
                  <c:v>16.634014711860999</c:v>
                </c:pt>
                <c:pt idx="233">
                  <c:v>16.659879308429002</c:v>
                </c:pt>
                <c:pt idx="234">
                  <c:v>11.123470522803</c:v>
                </c:pt>
                <c:pt idx="235">
                  <c:v>16.720543975030001</c:v>
                </c:pt>
                <c:pt idx="236">
                  <c:v>13.005109150022999</c:v>
                </c:pt>
                <c:pt idx="237">
                  <c:v>11.146822226763</c:v>
                </c:pt>
                <c:pt idx="238">
                  <c:v>11.16009151275</c:v>
                </c:pt>
                <c:pt idx="239">
                  <c:v>16.767270288397</c:v>
                </c:pt>
                <c:pt idx="240">
                  <c:v>26.118428416850001</c:v>
                </c:pt>
                <c:pt idx="241">
                  <c:v>35.504064281041998</c:v>
                </c:pt>
                <c:pt idx="242">
                  <c:v>31.83818709617</c:v>
                </c:pt>
                <c:pt idx="243">
                  <c:v>13.115982761851001</c:v>
                </c:pt>
                <c:pt idx="244">
                  <c:v>11.246696282966001</c:v>
                </c:pt>
                <c:pt idx="245">
                  <c:v>16.904265509662999</c:v>
                </c:pt>
                <c:pt idx="246">
                  <c:v>30.100649045245</c:v>
                </c:pt>
                <c:pt idx="247">
                  <c:v>24.491333835719001</c:v>
                </c:pt>
                <c:pt idx="248">
                  <c:v>18.876828692779</c:v>
                </c:pt>
                <c:pt idx="249">
                  <c:v>17.031584126563001</c:v>
                </c:pt>
                <c:pt idx="250">
                  <c:v>13.25381047051</c:v>
                </c:pt>
                <c:pt idx="251">
                  <c:v>9.4711319896949995</c:v>
                </c:pt>
                <c:pt idx="252">
                  <c:v>34.152357461340998</c:v>
                </c:pt>
                <c:pt idx="253">
                  <c:v>51.240202683467999</c:v>
                </c:pt>
                <c:pt idx="254">
                  <c:v>28.528499971471</c:v>
                </c:pt>
                <c:pt idx="255">
                  <c:v>45.717768972873998</c:v>
                </c:pt>
                <c:pt idx="256">
                  <c:v>22.897704505122999</c:v>
                </c:pt>
                <c:pt idx="257">
                  <c:v>17.180162638872002</c:v>
                </c:pt>
                <c:pt idx="258">
                  <c:v>28.642352491884001</c:v>
                </c:pt>
                <c:pt idx="259">
                  <c:v>97.532989099253996</c:v>
                </c:pt>
                <c:pt idx="260">
                  <c:v>82.362856267238001</c:v>
                </c:pt>
                <c:pt idx="261">
                  <c:v>80.555449000728004</c:v>
                </c:pt>
                <c:pt idx="262">
                  <c:v>107.55992624462201</c:v>
                </c:pt>
                <c:pt idx="263">
                  <c:v>98.148647088255998</c:v>
                </c:pt>
                <c:pt idx="264">
                  <c:v>63.534847901424001</c:v>
                </c:pt>
                <c:pt idx="265">
                  <c:v>34.664047605291998</c:v>
                </c:pt>
                <c:pt idx="266">
                  <c:v>121.516057479024</c:v>
                </c:pt>
                <c:pt idx="267">
                  <c:v>142.920601811615</c:v>
                </c:pt>
                <c:pt idx="268">
                  <c:v>150.82081327223099</c:v>
                </c:pt>
                <c:pt idx="269">
                  <c:v>81.338600976063006</c:v>
                </c:pt>
                <c:pt idx="270">
                  <c:v>168.859904506812</c:v>
                </c:pt>
                <c:pt idx="271">
                  <c:v>128.165294391797</c:v>
                </c:pt>
                <c:pt idx="272">
                  <c:v>67.984926770521</c:v>
                </c:pt>
                <c:pt idx="273">
                  <c:v>227.61760242792101</c:v>
                </c:pt>
                <c:pt idx="274">
                  <c:v>243.43219926386101</c:v>
                </c:pt>
                <c:pt idx="275">
                  <c:v>234.09609644759101</c:v>
                </c:pt>
                <c:pt idx="276">
                  <c:v>191.60084460780399</c:v>
                </c:pt>
                <c:pt idx="277">
                  <c:v>201.964744406753</c:v>
                </c:pt>
                <c:pt idx="278">
                  <c:v>107.955326123226</c:v>
                </c:pt>
                <c:pt idx="279">
                  <c:v>51.080550098231001</c:v>
                </c:pt>
                <c:pt idx="280">
                  <c:v>236.248375792416</c:v>
                </c:pt>
                <c:pt idx="281">
                  <c:v>238.960423414171</c:v>
                </c:pt>
                <c:pt idx="282">
                  <c:v>281.38871274571898</c:v>
                </c:pt>
                <c:pt idx="283">
                  <c:v>216.23551817171801</c:v>
                </c:pt>
                <c:pt idx="284">
                  <c:v>318.37628096706698</c:v>
                </c:pt>
                <c:pt idx="285">
                  <c:v>181.32185625759601</c:v>
                </c:pt>
                <c:pt idx="286">
                  <c:v>87.766541000936996</c:v>
                </c:pt>
                <c:pt idx="287">
                  <c:v>326.19571743045799</c:v>
                </c:pt>
                <c:pt idx="288">
                  <c:v>407.45870215371002</c:v>
                </c:pt>
                <c:pt idx="289">
                  <c:v>251.66602911272599</c:v>
                </c:pt>
                <c:pt idx="290">
                  <c:v>325.33796754703201</c:v>
                </c:pt>
                <c:pt idx="291">
                  <c:v>584.66473131813405</c:v>
                </c:pt>
                <c:pt idx="292">
                  <c:v>309.04359141184102</c:v>
                </c:pt>
                <c:pt idx="293">
                  <c:v>158.76569846730001</c:v>
                </c:pt>
                <c:pt idx="294">
                  <c:v>379.925240517188</c:v>
                </c:pt>
                <c:pt idx="295">
                  <c:v>475.13721635127303</c:v>
                </c:pt>
                <c:pt idx="296">
                  <c:v>318.458251150558</c:v>
                </c:pt>
                <c:pt idx="297">
                  <c:v>490.78236482863798</c:v>
                </c:pt>
                <c:pt idx="298">
                  <c:v>329.53367875647598</c:v>
                </c:pt>
                <c:pt idx="299">
                  <c:v>193.06221585601199</c:v>
                </c:pt>
                <c:pt idx="300">
                  <c:v>133.03400681799201</c:v>
                </c:pt>
                <c:pt idx="301">
                  <c:v>398.86396859207201</c:v>
                </c:pt>
                <c:pt idx="302">
                  <c:v>363.19358427980598</c:v>
                </c:pt>
                <c:pt idx="303">
                  <c:v>323.964994951194</c:v>
                </c:pt>
                <c:pt idx="304">
                  <c:v>249.4872824914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200-4031-9260-04D76AD8008B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06</c:f>
              <c:numCache>
                <c:formatCode>m/d/yyyy</c:formatCode>
                <c:ptCount val="305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</c:numCache>
            </c:numRef>
          </c:cat>
          <c:val>
            <c:numRef>
              <c:f>List1!$C$2:$C$306</c:f>
              <c:numCache>
                <c:formatCode>General</c:formatCode>
                <c:ptCount val="30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2.855122766421999</c:v>
                </c:pt>
                <c:pt idx="9">
                  <c:v>10.291771728503001</c:v>
                </c:pt>
                <c:pt idx="10">
                  <c:v>12.485953302534</c:v>
                </c:pt>
                <c:pt idx="11">
                  <c:v>20.272324897792998</c:v>
                </c:pt>
                <c:pt idx="12">
                  <c:v>3.310052629836</c:v>
                </c:pt>
                <c:pt idx="13">
                  <c:v>0</c:v>
                </c:pt>
                <c:pt idx="14">
                  <c:v>8.3668005354750008</c:v>
                </c:pt>
                <c:pt idx="15">
                  <c:v>14.282313734824999</c:v>
                </c:pt>
                <c:pt idx="16">
                  <c:v>4.1899733936679997</c:v>
                </c:pt>
                <c:pt idx="17">
                  <c:v>18.550466544233</c:v>
                </c:pt>
                <c:pt idx="18">
                  <c:v>10.185200903087001</c:v>
                </c:pt>
                <c:pt idx="19">
                  <c:v>6.7060085836900001</c:v>
                </c:pt>
                <c:pt idx="20">
                  <c:v>1.6589250165889999</c:v>
                </c:pt>
                <c:pt idx="21">
                  <c:v>13.906916373075999</c:v>
                </c:pt>
                <c:pt idx="22">
                  <c:v>20.461554201195</c:v>
                </c:pt>
                <c:pt idx="23">
                  <c:v>19.480429126023999</c:v>
                </c:pt>
                <c:pt idx="24">
                  <c:v>14.657090700742</c:v>
                </c:pt>
                <c:pt idx="25">
                  <c:v>26.938272871875999</c:v>
                </c:pt>
                <c:pt idx="26">
                  <c:v>11.490730810479</c:v>
                </c:pt>
                <c:pt idx="27">
                  <c:v>14.025781937343</c:v>
                </c:pt>
                <c:pt idx="28">
                  <c:v>24.857689726316</c:v>
                </c:pt>
                <c:pt idx="29">
                  <c:v>15.841680680461</c:v>
                </c:pt>
                <c:pt idx="30">
                  <c:v>22.796261413128001</c:v>
                </c:pt>
                <c:pt idx="31">
                  <c:v>12.973074972579001</c:v>
                </c:pt>
                <c:pt idx="32">
                  <c:v>18.587144666069999</c:v>
                </c:pt>
                <c:pt idx="33">
                  <c:v>10.444106622724</c:v>
                </c:pt>
                <c:pt idx="34">
                  <c:v>4.6368747464200002</c:v>
                </c:pt>
                <c:pt idx="35">
                  <c:v>16.059281691271</c:v>
                </c:pt>
                <c:pt idx="36">
                  <c:v>19.261491745884001</c:v>
                </c:pt>
                <c:pt idx="37">
                  <c:v>6.7340067340059999</c:v>
                </c:pt>
                <c:pt idx="38">
                  <c:v>16.670556463174002</c:v>
                </c:pt>
                <c:pt idx="39">
                  <c:v>17.580872011251</c:v>
                </c:pt>
                <c:pt idx="40">
                  <c:v>7.6881679095870004</c:v>
                </c:pt>
                <c:pt idx="41">
                  <c:v>8.7823299521359992</c:v>
                </c:pt>
                <c:pt idx="42">
                  <c:v>21.822149481722999</c:v>
                </c:pt>
                <c:pt idx="43">
                  <c:v>11.921663830755</c:v>
                </c:pt>
                <c:pt idx="44">
                  <c:v>8.6059445562019992</c:v>
                </c:pt>
                <c:pt idx="45">
                  <c:v>13.892896455174</c:v>
                </c:pt>
                <c:pt idx="46">
                  <c:v>16.935159508032999</c:v>
                </c:pt>
                <c:pt idx="47">
                  <c:v>3.1744688055529999</c:v>
                </c:pt>
                <c:pt idx="48">
                  <c:v>4.2309685744800003</c:v>
                </c:pt>
                <c:pt idx="49">
                  <c:v>14.680592257036</c:v>
                </c:pt>
                <c:pt idx="50">
                  <c:v>14.56361177572</c:v>
                </c:pt>
                <c:pt idx="51">
                  <c:v>16.496886212726999</c:v>
                </c:pt>
                <c:pt idx="52">
                  <c:v>10.177495521900999</c:v>
                </c:pt>
                <c:pt idx="53">
                  <c:v>8.0256821829849994</c:v>
                </c:pt>
                <c:pt idx="54">
                  <c:v>8.0114563826269993</c:v>
                </c:pt>
                <c:pt idx="55">
                  <c:v>3.9966028875449999</c:v>
                </c:pt>
                <c:pt idx="56">
                  <c:v>9.8546440009849992</c:v>
                </c:pt>
                <c:pt idx="57">
                  <c:v>5.8331713007969999</c:v>
                </c:pt>
                <c:pt idx="58">
                  <c:v>11.488200660571</c:v>
                </c:pt>
                <c:pt idx="59">
                  <c:v>4.7122244526749997</c:v>
                </c:pt>
                <c:pt idx="60">
                  <c:v>2.7711833876790002</c:v>
                </c:pt>
                <c:pt idx="61">
                  <c:v>8.2956189914369993</c:v>
                </c:pt>
                <c:pt idx="62">
                  <c:v>0.92038656235600003</c:v>
                </c:pt>
                <c:pt idx="63">
                  <c:v>1.8136805927099999</c:v>
                </c:pt>
                <c:pt idx="64">
                  <c:v>8.040667911481</c:v>
                </c:pt>
                <c:pt idx="65">
                  <c:v>6.1553613197089998</c:v>
                </c:pt>
                <c:pt idx="66">
                  <c:v>8.6498456002560005</c:v>
                </c:pt>
                <c:pt idx="67">
                  <c:v>4.2395516250199998</c:v>
                </c:pt>
                <c:pt idx="68">
                  <c:v>4.2265784157089996</c:v>
                </c:pt>
                <c:pt idx="69">
                  <c:v>1.687920397674</c:v>
                </c:pt>
                <c:pt idx="70">
                  <c:v>7.4886422259570002</c:v>
                </c:pt>
                <c:pt idx="71">
                  <c:v>4.1003436087939997</c:v>
                </c:pt>
                <c:pt idx="72">
                  <c:v>4.0386743455319998</c:v>
                </c:pt>
                <c:pt idx="73">
                  <c:v>4.7599025806600004</c:v>
                </c:pt>
                <c:pt idx="74">
                  <c:v>3.9432798624580001</c:v>
                </c:pt>
                <c:pt idx="75">
                  <c:v>4.7137200678770004</c:v>
                </c:pt>
                <c:pt idx="76">
                  <c:v>3.133813851457</c:v>
                </c:pt>
                <c:pt idx="77">
                  <c:v>5.4716995880589998</c:v>
                </c:pt>
                <c:pt idx="78">
                  <c:v>5.3810556093660002</c:v>
                </c:pt>
                <c:pt idx="79">
                  <c:v>9.1147316850859994</c:v>
                </c:pt>
                <c:pt idx="80">
                  <c:v>2.9970853345120001</c:v>
                </c:pt>
                <c:pt idx="81">
                  <c:v>3.6914808006080002</c:v>
                </c:pt>
                <c:pt idx="82">
                  <c:v>0.73431143616600003</c:v>
                </c:pt>
                <c:pt idx="83">
                  <c:v>0.73233247894499998</c:v>
                </c:pt>
                <c:pt idx="84">
                  <c:v>5.0842533410800002</c:v>
                </c:pt>
                <c:pt idx="85">
                  <c:v>5.037239592703</c:v>
                </c:pt>
                <c:pt idx="86">
                  <c:v>2.138473272648</c:v>
                </c:pt>
                <c:pt idx="87">
                  <c:v>7.0673875401949999</c:v>
                </c:pt>
                <c:pt idx="88">
                  <c:v>4.1976241447340001</c:v>
                </c:pt>
                <c:pt idx="89">
                  <c:v>1.396804112191</c:v>
                </c:pt>
                <c:pt idx="90">
                  <c:v>2.7893613757129998</c:v>
                </c:pt>
                <c:pt idx="91">
                  <c:v>4.8574343032009999</c:v>
                </c:pt>
                <c:pt idx="92">
                  <c:v>7.5978919303480001</c:v>
                </c:pt>
                <c:pt idx="93">
                  <c:v>5.5038423699539996</c:v>
                </c:pt>
                <c:pt idx="94">
                  <c:v>2.0548789676279999</c:v>
                </c:pt>
                <c:pt idx="95">
                  <c:v>2.729183155481</c:v>
                </c:pt>
                <c:pt idx="96">
                  <c:v>0</c:v>
                </c:pt>
                <c:pt idx="97">
                  <c:v>0</c:v>
                </c:pt>
                <c:pt idx="98">
                  <c:v>2.7181483973109999</c:v>
                </c:pt>
                <c:pt idx="99">
                  <c:v>2.033250421899</c:v>
                </c:pt>
                <c:pt idx="100">
                  <c:v>4.0529312825500003</c:v>
                </c:pt>
                <c:pt idx="101">
                  <c:v>4.0414654353659998</c:v>
                </c:pt>
                <c:pt idx="102">
                  <c:v>1.3434269478009999</c:v>
                </c:pt>
                <c:pt idx="103">
                  <c:v>1.342930812204</c:v>
                </c:pt>
                <c:pt idx="104">
                  <c:v>0.67121301616200002</c:v>
                </c:pt>
                <c:pt idx="105">
                  <c:v>4.6917204538900004</c:v>
                </c:pt>
                <c:pt idx="106">
                  <c:v>2.008193429191</c:v>
                </c:pt>
                <c:pt idx="107">
                  <c:v>2.0048919363239999</c:v>
                </c:pt>
                <c:pt idx="108">
                  <c:v>2.6680362586120001</c:v>
                </c:pt>
                <c:pt idx="109">
                  <c:v>0.66537583754100005</c:v>
                </c:pt>
                <c:pt idx="110">
                  <c:v>0.66525189763100001</c:v>
                </c:pt>
                <c:pt idx="111">
                  <c:v>0</c:v>
                </c:pt>
                <c:pt idx="112">
                  <c:v>1.9919525118520001</c:v>
                </c:pt>
                <c:pt idx="113">
                  <c:v>1.3263391051190001</c:v>
                </c:pt>
                <c:pt idx="114">
                  <c:v>0.66174329653999997</c:v>
                </c:pt>
                <c:pt idx="115">
                  <c:v>1.9810087296450001</c:v>
                </c:pt>
                <c:pt idx="116">
                  <c:v>2.6356538068719999</c:v>
                </c:pt>
                <c:pt idx="117">
                  <c:v>0.65702158972900004</c:v>
                </c:pt>
                <c:pt idx="118">
                  <c:v>0</c:v>
                </c:pt>
                <c:pt idx="119">
                  <c:v>1.3104614134629999</c:v>
                </c:pt>
                <c:pt idx="120">
                  <c:v>0</c:v>
                </c:pt>
                <c:pt idx="121">
                  <c:v>0</c:v>
                </c:pt>
                <c:pt idx="122">
                  <c:v>1.2916058535570001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.63870011752</c:v>
                </c:pt>
                <c:pt idx="127">
                  <c:v>0.63606353002500005</c:v>
                </c:pt>
                <c:pt idx="128">
                  <c:v>0</c:v>
                </c:pt>
                <c:pt idx="129">
                  <c:v>0</c:v>
                </c:pt>
                <c:pt idx="131">
                  <c:v>0.62566085427700002</c:v>
                </c:pt>
                <c:pt idx="132">
                  <c:v>0.62474619685699995</c:v>
                </c:pt>
                <c:pt idx="133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.61214120873400002</c:v>
                </c:pt>
                <c:pt idx="139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.59868767661199995</c:v>
                </c:pt>
                <c:pt idx="148">
                  <c:v>0</c:v>
                </c:pt>
                <c:pt idx="150">
                  <c:v>0.59306001174199996</c:v>
                </c:pt>
                <c:pt idx="151">
                  <c:v>1.181858472447</c:v>
                </c:pt>
                <c:pt idx="153">
                  <c:v>0.58960178295499999</c:v>
                </c:pt>
                <c:pt idx="154">
                  <c:v>1.1760071030820001</c:v>
                </c:pt>
                <c:pt idx="155">
                  <c:v>0</c:v>
                </c:pt>
                <c:pt idx="156">
                  <c:v>0.58435790753100003</c:v>
                </c:pt>
                <c:pt idx="157">
                  <c:v>1.7474167355920001</c:v>
                </c:pt>
                <c:pt idx="158">
                  <c:v>1.160833478437</c:v>
                </c:pt>
                <c:pt idx="159">
                  <c:v>0</c:v>
                </c:pt>
                <c:pt idx="161">
                  <c:v>2.8888709136920001</c:v>
                </c:pt>
                <c:pt idx="162">
                  <c:v>0.57604018456299999</c:v>
                </c:pt>
                <c:pt idx="163">
                  <c:v>2.296817758994</c:v>
                </c:pt>
                <c:pt idx="164">
                  <c:v>0.57224606580799997</c:v>
                </c:pt>
                <c:pt idx="165">
                  <c:v>2.8521556592469999</c:v>
                </c:pt>
                <c:pt idx="166">
                  <c:v>0</c:v>
                </c:pt>
                <c:pt idx="167">
                  <c:v>0.56951175757000005</c:v>
                </c:pt>
                <c:pt idx="168">
                  <c:v>2.2766726429320001</c:v>
                </c:pt>
                <c:pt idx="169">
                  <c:v>2.8438013661619999</c:v>
                </c:pt>
                <c:pt idx="170">
                  <c:v>1.1343591721440001</c:v>
                </c:pt>
                <c:pt idx="171">
                  <c:v>2.8289343404329998</c:v>
                </c:pt>
                <c:pt idx="172">
                  <c:v>1.69295448774</c:v>
                </c:pt>
                <c:pt idx="173">
                  <c:v>0.563748703377</c:v>
                </c:pt>
                <c:pt idx="174">
                  <c:v>0</c:v>
                </c:pt>
                <c:pt idx="175">
                  <c:v>2.8101412376980002</c:v>
                </c:pt>
                <c:pt idx="176">
                  <c:v>1.6823782098369999</c:v>
                </c:pt>
                <c:pt idx="177">
                  <c:v>1.118505676416</c:v>
                </c:pt>
                <c:pt idx="178">
                  <c:v>0.55788628045999999</c:v>
                </c:pt>
                <c:pt idx="179">
                  <c:v>1.112817431172</c:v>
                </c:pt>
                <c:pt idx="180">
                  <c:v>0.55596326194699996</c:v>
                </c:pt>
                <c:pt idx="181">
                  <c:v>0.55546914924299995</c:v>
                </c:pt>
                <c:pt idx="182">
                  <c:v>1.1082481367570001</c:v>
                </c:pt>
                <c:pt idx="183">
                  <c:v>2.2108119759679998</c:v>
                </c:pt>
                <c:pt idx="184">
                  <c:v>2.205266175627</c:v>
                </c:pt>
                <c:pt idx="185">
                  <c:v>1.6498110966290001</c:v>
                </c:pt>
                <c:pt idx="186">
                  <c:v>0.54871490968100001</c:v>
                </c:pt>
                <c:pt idx="187">
                  <c:v>0</c:v>
                </c:pt>
                <c:pt idx="188">
                  <c:v>1.095494232222</c:v>
                </c:pt>
                <c:pt idx="189">
                  <c:v>1.6404917100480001</c:v>
                </c:pt>
                <c:pt idx="190">
                  <c:v>1.0914468765509999</c:v>
                </c:pt>
                <c:pt idx="191">
                  <c:v>2.1783407578439999</c:v>
                </c:pt>
                <c:pt idx="192">
                  <c:v>1.0872815243680001</c:v>
                </c:pt>
                <c:pt idx="193">
                  <c:v>1.6279839589309999</c:v>
                </c:pt>
                <c:pt idx="194">
                  <c:v>0.54229052672599998</c:v>
                </c:pt>
                <c:pt idx="195">
                  <c:v>0.54198485694300003</c:v>
                </c:pt>
                <c:pt idx="196">
                  <c:v>1.6236138396840001</c:v>
                </c:pt>
                <c:pt idx="197">
                  <c:v>0.54035068759600002</c:v>
                </c:pt>
                <c:pt idx="198">
                  <c:v>0</c:v>
                </c:pt>
                <c:pt idx="199">
                  <c:v>1.615735105615</c:v>
                </c:pt>
                <c:pt idx="200">
                  <c:v>0.53753614930600002</c:v>
                </c:pt>
                <c:pt idx="201">
                  <c:v>0.53716655386099998</c:v>
                </c:pt>
                <c:pt idx="202">
                  <c:v>1.0737620865340001</c:v>
                </c:pt>
                <c:pt idx="203">
                  <c:v>2.143243692165</c:v>
                </c:pt>
                <c:pt idx="204">
                  <c:v>1.6048616609240001</c:v>
                </c:pt>
                <c:pt idx="205">
                  <c:v>2.1357367490880002</c:v>
                </c:pt>
                <c:pt idx="206">
                  <c:v>0.53306040640499996</c:v>
                </c:pt>
                <c:pt idx="207">
                  <c:v>1.596118240439</c:v>
                </c:pt>
                <c:pt idx="208">
                  <c:v>0.53180174430899996</c:v>
                </c:pt>
                <c:pt idx="209">
                  <c:v>0</c:v>
                </c:pt>
                <c:pt idx="210">
                  <c:v>0.530670077106</c:v>
                </c:pt>
                <c:pt idx="211">
                  <c:v>3.1799704262750002</c:v>
                </c:pt>
                <c:pt idx="212">
                  <c:v>2.6454046675509999</c:v>
                </c:pt>
                <c:pt idx="213">
                  <c:v>2.1127802074750002</c:v>
                </c:pt>
                <c:pt idx="214">
                  <c:v>4.2165404339870003</c:v>
                </c:pt>
                <c:pt idx="215">
                  <c:v>1.5804779365279999</c:v>
                </c:pt>
                <c:pt idx="216">
                  <c:v>1.053246896871</c:v>
                </c:pt>
                <c:pt idx="217">
                  <c:v>1.5773368245049999</c:v>
                </c:pt>
                <c:pt idx="218">
                  <c:v>3.675080851778</c:v>
                </c:pt>
                <c:pt idx="219">
                  <c:v>0.52430686632199996</c:v>
                </c:pt>
                <c:pt idx="220">
                  <c:v>2.094591764065</c:v>
                </c:pt>
                <c:pt idx="221">
                  <c:v>2.0917767028359999</c:v>
                </c:pt>
                <c:pt idx="222">
                  <c:v>1.56834043443</c:v>
                </c:pt>
                <c:pt idx="223">
                  <c:v>1.5678650381770001</c:v>
                </c:pt>
                <c:pt idx="224">
                  <c:v>3.6553143048110002</c:v>
                </c:pt>
                <c:pt idx="225">
                  <c:v>3.1302986826649999</c:v>
                </c:pt>
                <c:pt idx="226">
                  <c:v>2.6068142123509999</c:v>
                </c:pt>
                <c:pt idx="227">
                  <c:v>5.2097171644550002</c:v>
                </c:pt>
                <c:pt idx="228">
                  <c:v>1.5617191404290001</c:v>
                </c:pt>
                <c:pt idx="229">
                  <c:v>1.561459027315</c:v>
                </c:pt>
                <c:pt idx="230">
                  <c:v>2.081750335682</c:v>
                </c:pt>
                <c:pt idx="231">
                  <c:v>4.1606856810000004</c:v>
                </c:pt>
                <c:pt idx="232">
                  <c:v>5.198072554696</c:v>
                </c:pt>
                <c:pt idx="233">
                  <c:v>4.1562111978720004</c:v>
                </c:pt>
                <c:pt idx="234">
                  <c:v>4.1539883480619997</c:v>
                </c:pt>
                <c:pt idx="235">
                  <c:v>3.1133250311329999</c:v>
                </c:pt>
                <c:pt idx="236">
                  <c:v>2.075313112865</c:v>
                </c:pt>
                <c:pt idx="237">
                  <c:v>2.0751193193600002</c:v>
                </c:pt>
                <c:pt idx="238">
                  <c:v>6.2226140164380004</c:v>
                </c:pt>
                <c:pt idx="239">
                  <c:v>5.1826360960229998</c:v>
                </c:pt>
                <c:pt idx="240">
                  <c:v>5.180085678617</c:v>
                </c:pt>
                <c:pt idx="241">
                  <c:v>9.3189889932379995</c:v>
                </c:pt>
                <c:pt idx="242">
                  <c:v>2.0694721811200001</c:v>
                </c:pt>
                <c:pt idx="243">
                  <c:v>3.621276551717</c:v>
                </c:pt>
                <c:pt idx="244">
                  <c:v>5.1729310862120004</c:v>
                </c:pt>
                <c:pt idx="245">
                  <c:v>5.1702832798199996</c:v>
                </c:pt>
                <c:pt idx="246">
                  <c:v>6.2018708977200001</c:v>
                </c:pt>
                <c:pt idx="247">
                  <c:v>7.233048833412</c:v>
                </c:pt>
                <c:pt idx="248">
                  <c:v>10.327804515316</c:v>
                </c:pt>
                <c:pt idx="249">
                  <c:v>8.2569990968900004</c:v>
                </c:pt>
                <c:pt idx="250">
                  <c:v>3.6120829334239999</c:v>
                </c:pt>
                <c:pt idx="251">
                  <c:v>2.5798728638649999</c:v>
                </c:pt>
                <c:pt idx="252">
                  <c:v>11.346873936230001</c:v>
                </c:pt>
                <c:pt idx="253">
                  <c:v>17.020047552981001</c:v>
                </c:pt>
                <c:pt idx="254">
                  <c:v>16.495355526459001</c:v>
                </c:pt>
                <c:pt idx="255">
                  <c:v>11.851515963476</c:v>
                </c:pt>
                <c:pt idx="256">
                  <c:v>12.876774419515</c:v>
                </c:pt>
                <c:pt idx="257">
                  <c:v>7.7255473550299998</c:v>
                </c:pt>
                <c:pt idx="258">
                  <c:v>8.2402867619790001</c:v>
                </c:pt>
                <c:pt idx="259">
                  <c:v>20.593186744164999</c:v>
                </c:pt>
                <c:pt idx="260">
                  <c:v>29.848902795503999</c:v>
                </c:pt>
                <c:pt idx="261">
                  <c:v>24.180313109330999</c:v>
                </c:pt>
                <c:pt idx="262">
                  <c:v>32.401073864162001</c:v>
                </c:pt>
                <c:pt idx="263">
                  <c:v>28.273128704422</c:v>
                </c:pt>
                <c:pt idx="264">
                  <c:v>22.102968994160001</c:v>
                </c:pt>
                <c:pt idx="265">
                  <c:v>13.364311121162</c:v>
                </c:pt>
                <c:pt idx="266">
                  <c:v>57.547746646044999</c:v>
                </c:pt>
                <c:pt idx="267">
                  <c:v>51.366344770905997</c:v>
                </c:pt>
                <c:pt idx="268">
                  <c:v>44.163487066774003</c:v>
                </c:pt>
                <c:pt idx="269">
                  <c:v>28.233651432472001</c:v>
                </c:pt>
                <c:pt idx="270">
                  <c:v>58.489133334701002</c:v>
                </c:pt>
                <c:pt idx="271">
                  <c:v>37.450301397973</c:v>
                </c:pt>
                <c:pt idx="272">
                  <c:v>31.806126270320998</c:v>
                </c:pt>
                <c:pt idx="273">
                  <c:v>95.390974782933995</c:v>
                </c:pt>
                <c:pt idx="274">
                  <c:v>74.865652049062007</c:v>
                </c:pt>
                <c:pt idx="275">
                  <c:v>72.790649989746996</c:v>
                </c:pt>
                <c:pt idx="276">
                  <c:v>74.806962171245999</c:v>
                </c:pt>
                <c:pt idx="277">
                  <c:v>92.680778723360007</c:v>
                </c:pt>
                <c:pt idx="278">
                  <c:v>53.245410143249998</c:v>
                </c:pt>
                <c:pt idx="279">
                  <c:v>30.714889042463</c:v>
                </c:pt>
                <c:pt idx="280">
                  <c:v>100.293204112021</c:v>
                </c:pt>
                <c:pt idx="281">
                  <c:v>112.496867984925</c:v>
                </c:pt>
                <c:pt idx="282">
                  <c:v>110.36794424374899</c:v>
                </c:pt>
                <c:pt idx="283">
                  <c:v>79.697150826856998</c:v>
                </c:pt>
                <c:pt idx="284">
                  <c:v>110.277224689845</c:v>
                </c:pt>
                <c:pt idx="285">
                  <c:v>77.585062833692007</c:v>
                </c:pt>
                <c:pt idx="286">
                  <c:v>43.890091046420999</c:v>
                </c:pt>
                <c:pt idx="287">
                  <c:v>115.25731450457199</c:v>
                </c:pt>
                <c:pt idx="288">
                  <c:v>146.27259707760601</c:v>
                </c:pt>
                <c:pt idx="289">
                  <c:v>91.169774418474006</c:v>
                </c:pt>
                <c:pt idx="290">
                  <c:v>115.524568055166</c:v>
                </c:pt>
                <c:pt idx="291">
                  <c:v>144.383042110025</c:v>
                </c:pt>
                <c:pt idx="292">
                  <c:v>88.437102922489998</c:v>
                </c:pt>
                <c:pt idx="293">
                  <c:v>65.046930343884</c:v>
                </c:pt>
                <c:pt idx="294">
                  <c:v>138.12084558394099</c:v>
                </c:pt>
                <c:pt idx="295">
                  <c:v>159.36335860815799</c:v>
                </c:pt>
                <c:pt idx="296">
                  <c:v>107.52360954728501</c:v>
                </c:pt>
                <c:pt idx="297">
                  <c:v>155.07804581390599</c:v>
                </c:pt>
                <c:pt idx="298">
                  <c:v>122.000607471904</c:v>
                </c:pt>
                <c:pt idx="299">
                  <c:v>82.998051570130002</c:v>
                </c:pt>
                <c:pt idx="300">
                  <c:v>69.320056265622</c:v>
                </c:pt>
                <c:pt idx="301">
                  <c:v>139.00683408144201</c:v>
                </c:pt>
                <c:pt idx="302">
                  <c:v>104.513256017085</c:v>
                </c:pt>
                <c:pt idx="303">
                  <c:v>113.579000504795</c:v>
                </c:pt>
                <c:pt idx="304">
                  <c:v>87.239353521091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200-4031-9260-04D76AD800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sz="160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3305263600732"/>
          <c:y val="0.15289779551144775"/>
          <c:w val="0.79684300815915377"/>
          <c:h val="0.8041653594074434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 posilujíc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B$2:$B$12</c:f>
              <c:numCache>
                <c:formatCode>General</c:formatCode>
                <c:ptCount val="11"/>
                <c:pt idx="0">
                  <c:v>53.648440000000001</c:v>
                </c:pt>
                <c:pt idx="1">
                  <c:v>35.989699999999999</c:v>
                </c:pt>
                <c:pt idx="2">
                  <c:v>30.49259</c:v>
                </c:pt>
                <c:pt idx="3">
                  <c:v>30.48507</c:v>
                </c:pt>
                <c:pt idx="4">
                  <c:v>26.577539999999999</c:v>
                </c:pt>
                <c:pt idx="5">
                  <c:v>30.703199999999999</c:v>
                </c:pt>
                <c:pt idx="6">
                  <c:v>43.217529999999996</c:v>
                </c:pt>
                <c:pt idx="7">
                  <c:v>24.85961</c:v>
                </c:pt>
                <c:pt idx="8">
                  <c:v>31.961659999999998</c:v>
                </c:pt>
                <c:pt idx="9">
                  <c:v>30.801970000000001</c:v>
                </c:pt>
                <c:pt idx="10">
                  <c:v>37.6632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DA-4934-90AD-68162997E19E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S ukončovací dávkou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C$2:$C$12</c:f>
              <c:numCache>
                <c:formatCode>General</c:formatCode>
                <c:ptCount val="11"/>
                <c:pt idx="0">
                  <c:v>32.98066</c:v>
                </c:pt>
                <c:pt idx="1">
                  <c:v>44.439570000000003</c:v>
                </c:pt>
                <c:pt idx="2">
                  <c:v>47.312779999999997</c:v>
                </c:pt>
                <c:pt idx="3">
                  <c:v>45.969439999999999</c:v>
                </c:pt>
                <c:pt idx="4">
                  <c:v>49.750450000000001</c:v>
                </c:pt>
                <c:pt idx="5">
                  <c:v>48.255769999999998</c:v>
                </c:pt>
                <c:pt idx="6">
                  <c:v>40.893999999999998</c:v>
                </c:pt>
                <c:pt idx="7">
                  <c:v>48.077750000000002</c:v>
                </c:pt>
                <c:pt idx="8">
                  <c:v>47.524819999999998</c:v>
                </c:pt>
                <c:pt idx="9">
                  <c:v>47.26688</c:v>
                </c:pt>
                <c:pt idx="10">
                  <c:v>43.097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7DA-4934-90AD-68162997E19E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Pouze s 1. dávkou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D$2:$D$12</c:f>
              <c:numCache>
                <c:formatCode>General</c:formatCode>
                <c:ptCount val="11"/>
                <c:pt idx="0">
                  <c:v>1.0350181000000001</c:v>
                </c:pt>
                <c:pt idx="1">
                  <c:v>2.0719259999999999</c:v>
                </c:pt>
                <c:pt idx="2">
                  <c:v>2.0644149999999999</c:v>
                </c:pt>
                <c:pt idx="3">
                  <c:v>2.2010374000000001</c:v>
                </c:pt>
                <c:pt idx="4">
                  <c:v>2.1568627</c:v>
                </c:pt>
                <c:pt idx="5">
                  <c:v>2.0710291999999999</c:v>
                </c:pt>
                <c:pt idx="6">
                  <c:v>1.3941136999999999</c:v>
                </c:pt>
                <c:pt idx="7">
                  <c:v>2.2030238</c:v>
                </c:pt>
                <c:pt idx="8">
                  <c:v>1.9787744</c:v>
                </c:pt>
                <c:pt idx="9">
                  <c:v>2.0663893</c:v>
                </c:pt>
                <c:pt idx="10">
                  <c:v>1.8517551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7DA-4934-90AD-68162997E19E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Prodělali onemocnění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E$2:$E$12</c:f>
              <c:numCache>
                <c:formatCode>General</c:formatCode>
                <c:ptCount val="11"/>
                <c:pt idx="0">
                  <c:v>2.4131260000000001</c:v>
                </c:pt>
                <c:pt idx="1">
                  <c:v>7.267004</c:v>
                </c:pt>
                <c:pt idx="2">
                  <c:v>7.2396070000000003</c:v>
                </c:pt>
                <c:pt idx="3">
                  <c:v>6.6381610000000002</c:v>
                </c:pt>
                <c:pt idx="4">
                  <c:v>9.4830660000000009</c:v>
                </c:pt>
                <c:pt idx="5">
                  <c:v>7.5675249999999998</c:v>
                </c:pt>
                <c:pt idx="6">
                  <c:v>5.0232349999999997</c:v>
                </c:pt>
                <c:pt idx="7">
                  <c:v>8.6825050000000008</c:v>
                </c:pt>
                <c:pt idx="8">
                  <c:v>6.9428280000000004</c:v>
                </c:pt>
                <c:pt idx="9">
                  <c:v>6.5585399999999998</c:v>
                </c:pt>
                <c:pt idx="10">
                  <c:v>6.239225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7DA-4934-90AD-68162997E19E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Ostatní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F$2:$F$12</c:f>
              <c:numCache>
                <c:formatCode>General</c:formatCode>
                <c:ptCount val="11"/>
                <c:pt idx="0">
                  <c:v>9.9227570000000007</c:v>
                </c:pt>
                <c:pt idx="1">
                  <c:v>10.2318</c:v>
                </c:pt>
                <c:pt idx="2">
                  <c:v>12.89062</c:v>
                </c:pt>
                <c:pt idx="3">
                  <c:v>14.706289999999999</c:v>
                </c:pt>
                <c:pt idx="4">
                  <c:v>12.03209</c:v>
                </c:pt>
                <c:pt idx="5">
                  <c:v>11.402469999999999</c:v>
                </c:pt>
                <c:pt idx="6">
                  <c:v>9.4711219999999994</c:v>
                </c:pt>
                <c:pt idx="7">
                  <c:v>16.177109999999999</c:v>
                </c:pt>
                <c:pt idx="8">
                  <c:v>11.59192</c:v>
                </c:pt>
                <c:pt idx="9">
                  <c:v>13.30622</c:v>
                </c:pt>
                <c:pt idx="10">
                  <c:v>11.148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7DA-4934-90AD-68162997E1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59492928"/>
        <c:axId val="160289136"/>
      </c:barChart>
      <c:catAx>
        <c:axId val="1594929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noMultiLvlLbl val="0"/>
      </c:catAx>
      <c:valAx>
        <c:axId val="160289136"/>
        <c:scaling>
          <c:orientation val="minMax"/>
          <c:max val="1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1.368428679273505E-2"/>
          <c:y val="5.0081916086988656E-2"/>
          <c:w val="0.98087724341670113"/>
          <c:h val="4.2435842974244235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46373336375452E-2"/>
          <c:y val="2.9235580326475268E-2"/>
          <c:w val="0.7481746992431868"/>
          <c:h val="0.84252851457794231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Pracovníci v zařízeních sociálních služeb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0"/>
                  <c:y val="-1.663132121161326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l">
                    <a:defRPr sz="1197" b="1" i="0" u="none" strike="noStrike" kern="1200" baseline="0">
                      <a:solidFill>
                        <a:srgbClr val="002060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78D-4A9E-835E-C0CA09B7B5D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2060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List1!$A$2:$A$184</c:f>
              <c:numCache>
                <c:formatCode>dd/mm/yy;@</c:formatCode>
                <c:ptCount val="183"/>
                <c:pt idx="0">
                  <c:v>44350</c:v>
                </c:pt>
                <c:pt idx="1">
                  <c:v>44351</c:v>
                </c:pt>
                <c:pt idx="2">
                  <c:v>44352</c:v>
                </c:pt>
                <c:pt idx="3">
                  <c:v>44353</c:v>
                </c:pt>
                <c:pt idx="4">
                  <c:v>44354</c:v>
                </c:pt>
                <c:pt idx="5">
                  <c:v>44355</c:v>
                </c:pt>
                <c:pt idx="6">
                  <c:v>44356</c:v>
                </c:pt>
                <c:pt idx="7">
                  <c:v>44357</c:v>
                </c:pt>
                <c:pt idx="8">
                  <c:v>44358</c:v>
                </c:pt>
                <c:pt idx="9">
                  <c:v>44359</c:v>
                </c:pt>
                <c:pt idx="10">
                  <c:v>44360</c:v>
                </c:pt>
                <c:pt idx="11">
                  <c:v>44361</c:v>
                </c:pt>
                <c:pt idx="12">
                  <c:v>44362</c:v>
                </c:pt>
                <c:pt idx="13">
                  <c:v>44363</c:v>
                </c:pt>
                <c:pt idx="14">
                  <c:v>44364</c:v>
                </c:pt>
                <c:pt idx="15">
                  <c:v>44365</c:v>
                </c:pt>
                <c:pt idx="16">
                  <c:v>44366</c:v>
                </c:pt>
                <c:pt idx="17">
                  <c:v>44367</c:v>
                </c:pt>
                <c:pt idx="18">
                  <c:v>44368</c:v>
                </c:pt>
                <c:pt idx="19">
                  <c:v>44369</c:v>
                </c:pt>
                <c:pt idx="20">
                  <c:v>44370</c:v>
                </c:pt>
                <c:pt idx="21">
                  <c:v>44371</c:v>
                </c:pt>
                <c:pt idx="22">
                  <c:v>44372</c:v>
                </c:pt>
                <c:pt idx="23">
                  <c:v>44373</c:v>
                </c:pt>
                <c:pt idx="24">
                  <c:v>44374</c:v>
                </c:pt>
                <c:pt idx="25">
                  <c:v>44375</c:v>
                </c:pt>
                <c:pt idx="26">
                  <c:v>44376</c:v>
                </c:pt>
                <c:pt idx="27">
                  <c:v>44377</c:v>
                </c:pt>
                <c:pt idx="28">
                  <c:v>44378</c:v>
                </c:pt>
                <c:pt idx="29">
                  <c:v>44379</c:v>
                </c:pt>
                <c:pt idx="30">
                  <c:v>44380</c:v>
                </c:pt>
                <c:pt idx="31">
                  <c:v>44381</c:v>
                </c:pt>
                <c:pt idx="32">
                  <c:v>44382</c:v>
                </c:pt>
                <c:pt idx="33">
                  <c:v>44383</c:v>
                </c:pt>
                <c:pt idx="34">
                  <c:v>44384</c:v>
                </c:pt>
                <c:pt idx="35">
                  <c:v>44385</c:v>
                </c:pt>
                <c:pt idx="36">
                  <c:v>44386</c:v>
                </c:pt>
                <c:pt idx="37">
                  <c:v>44387</c:v>
                </c:pt>
                <c:pt idx="38">
                  <c:v>44388</c:v>
                </c:pt>
                <c:pt idx="39">
                  <c:v>44389</c:v>
                </c:pt>
                <c:pt idx="40">
                  <c:v>44390</c:v>
                </c:pt>
                <c:pt idx="41">
                  <c:v>44391</c:v>
                </c:pt>
                <c:pt idx="42">
                  <c:v>44392</c:v>
                </c:pt>
                <c:pt idx="43">
                  <c:v>44393</c:v>
                </c:pt>
                <c:pt idx="44">
                  <c:v>44394</c:v>
                </c:pt>
                <c:pt idx="45">
                  <c:v>44395</c:v>
                </c:pt>
                <c:pt idx="46">
                  <c:v>44396</c:v>
                </c:pt>
                <c:pt idx="47">
                  <c:v>44397</c:v>
                </c:pt>
                <c:pt idx="48">
                  <c:v>44398</c:v>
                </c:pt>
                <c:pt idx="49">
                  <c:v>44399</c:v>
                </c:pt>
                <c:pt idx="50">
                  <c:v>44400</c:v>
                </c:pt>
                <c:pt idx="51">
                  <c:v>44401</c:v>
                </c:pt>
                <c:pt idx="52">
                  <c:v>44402</c:v>
                </c:pt>
                <c:pt idx="53">
                  <c:v>44403</c:v>
                </c:pt>
                <c:pt idx="54">
                  <c:v>44404</c:v>
                </c:pt>
                <c:pt idx="55">
                  <c:v>44405</c:v>
                </c:pt>
                <c:pt idx="56">
                  <c:v>44406</c:v>
                </c:pt>
                <c:pt idx="57">
                  <c:v>44407</c:v>
                </c:pt>
                <c:pt idx="58">
                  <c:v>44408</c:v>
                </c:pt>
                <c:pt idx="59">
                  <c:v>44409</c:v>
                </c:pt>
                <c:pt idx="60">
                  <c:v>44410</c:v>
                </c:pt>
                <c:pt idx="61">
                  <c:v>44411</c:v>
                </c:pt>
                <c:pt idx="62">
                  <c:v>44412</c:v>
                </c:pt>
                <c:pt idx="63">
                  <c:v>44413</c:v>
                </c:pt>
                <c:pt idx="64">
                  <c:v>44414</c:v>
                </c:pt>
                <c:pt idx="65">
                  <c:v>44415</c:v>
                </c:pt>
                <c:pt idx="66">
                  <c:v>44416</c:v>
                </c:pt>
                <c:pt idx="67">
                  <c:v>44417</c:v>
                </c:pt>
                <c:pt idx="68">
                  <c:v>44418</c:v>
                </c:pt>
                <c:pt idx="69">
                  <c:v>44419</c:v>
                </c:pt>
                <c:pt idx="70">
                  <c:v>44420</c:v>
                </c:pt>
                <c:pt idx="71">
                  <c:v>44421</c:v>
                </c:pt>
                <c:pt idx="72">
                  <c:v>44422</c:v>
                </c:pt>
                <c:pt idx="73">
                  <c:v>44423</c:v>
                </c:pt>
                <c:pt idx="74">
                  <c:v>44424</c:v>
                </c:pt>
                <c:pt idx="75">
                  <c:v>44425</c:v>
                </c:pt>
                <c:pt idx="76">
                  <c:v>44426</c:v>
                </c:pt>
                <c:pt idx="77">
                  <c:v>44427</c:v>
                </c:pt>
                <c:pt idx="78">
                  <c:v>44428</c:v>
                </c:pt>
                <c:pt idx="79">
                  <c:v>44429</c:v>
                </c:pt>
                <c:pt idx="80">
                  <c:v>44430</c:v>
                </c:pt>
                <c:pt idx="81">
                  <c:v>44431</c:v>
                </c:pt>
                <c:pt idx="82">
                  <c:v>44432</c:v>
                </c:pt>
                <c:pt idx="83">
                  <c:v>44433</c:v>
                </c:pt>
                <c:pt idx="84">
                  <c:v>44434</c:v>
                </c:pt>
                <c:pt idx="85">
                  <c:v>44435</c:v>
                </c:pt>
                <c:pt idx="86">
                  <c:v>44436</c:v>
                </c:pt>
                <c:pt idx="87">
                  <c:v>44437</c:v>
                </c:pt>
                <c:pt idx="88">
                  <c:v>44438</c:v>
                </c:pt>
                <c:pt idx="89">
                  <c:v>44439</c:v>
                </c:pt>
                <c:pt idx="90">
                  <c:v>44440</c:v>
                </c:pt>
                <c:pt idx="91">
                  <c:v>44441</c:v>
                </c:pt>
                <c:pt idx="92">
                  <c:v>44442</c:v>
                </c:pt>
                <c:pt idx="93">
                  <c:v>44443</c:v>
                </c:pt>
                <c:pt idx="94">
                  <c:v>44444</c:v>
                </c:pt>
                <c:pt idx="95">
                  <c:v>44445</c:v>
                </c:pt>
                <c:pt idx="96">
                  <c:v>44446</c:v>
                </c:pt>
                <c:pt idx="97">
                  <c:v>44447</c:v>
                </c:pt>
                <c:pt idx="98">
                  <c:v>44448</c:v>
                </c:pt>
                <c:pt idx="99">
                  <c:v>44449</c:v>
                </c:pt>
                <c:pt idx="100">
                  <c:v>44450</c:v>
                </c:pt>
                <c:pt idx="101">
                  <c:v>44451</c:v>
                </c:pt>
                <c:pt idx="102">
                  <c:v>44452</c:v>
                </c:pt>
                <c:pt idx="103">
                  <c:v>44453</c:v>
                </c:pt>
                <c:pt idx="104">
                  <c:v>44454</c:v>
                </c:pt>
                <c:pt idx="105">
                  <c:v>44455</c:v>
                </c:pt>
                <c:pt idx="106">
                  <c:v>44456</c:v>
                </c:pt>
                <c:pt idx="107">
                  <c:v>44457</c:v>
                </c:pt>
                <c:pt idx="108">
                  <c:v>44458</c:v>
                </c:pt>
                <c:pt idx="109">
                  <c:v>44459</c:v>
                </c:pt>
                <c:pt idx="110">
                  <c:v>44460</c:v>
                </c:pt>
                <c:pt idx="111">
                  <c:v>44461</c:v>
                </c:pt>
                <c:pt idx="112">
                  <c:v>44462</c:v>
                </c:pt>
                <c:pt idx="113">
                  <c:v>44463</c:v>
                </c:pt>
                <c:pt idx="114">
                  <c:v>44464</c:v>
                </c:pt>
                <c:pt idx="115">
                  <c:v>44465</c:v>
                </c:pt>
                <c:pt idx="116">
                  <c:v>44466</c:v>
                </c:pt>
                <c:pt idx="117">
                  <c:v>44467</c:v>
                </c:pt>
                <c:pt idx="118">
                  <c:v>44468</c:v>
                </c:pt>
                <c:pt idx="119">
                  <c:v>44469</c:v>
                </c:pt>
                <c:pt idx="120">
                  <c:v>44470</c:v>
                </c:pt>
                <c:pt idx="121">
                  <c:v>44471</c:v>
                </c:pt>
                <c:pt idx="122">
                  <c:v>44472</c:v>
                </c:pt>
                <c:pt idx="123">
                  <c:v>44473</c:v>
                </c:pt>
                <c:pt idx="124">
                  <c:v>44474</c:v>
                </c:pt>
                <c:pt idx="125">
                  <c:v>44475</c:v>
                </c:pt>
                <c:pt idx="126">
                  <c:v>44476</c:v>
                </c:pt>
                <c:pt idx="127">
                  <c:v>44477</c:v>
                </c:pt>
                <c:pt idx="128">
                  <c:v>44478</c:v>
                </c:pt>
                <c:pt idx="129">
                  <c:v>44479</c:v>
                </c:pt>
                <c:pt idx="130">
                  <c:v>44480</c:v>
                </c:pt>
                <c:pt idx="131">
                  <c:v>44481</c:v>
                </c:pt>
                <c:pt idx="132">
                  <c:v>44482</c:v>
                </c:pt>
                <c:pt idx="133">
                  <c:v>44483</c:v>
                </c:pt>
                <c:pt idx="134">
                  <c:v>44484</c:v>
                </c:pt>
                <c:pt idx="135">
                  <c:v>44485</c:v>
                </c:pt>
                <c:pt idx="136">
                  <c:v>44486</c:v>
                </c:pt>
                <c:pt idx="137">
                  <c:v>44487</c:v>
                </c:pt>
                <c:pt idx="138">
                  <c:v>44488</c:v>
                </c:pt>
                <c:pt idx="139">
                  <c:v>44489</c:v>
                </c:pt>
                <c:pt idx="140">
                  <c:v>44490</c:v>
                </c:pt>
                <c:pt idx="141">
                  <c:v>44491</c:v>
                </c:pt>
                <c:pt idx="142">
                  <c:v>44492</c:v>
                </c:pt>
                <c:pt idx="143">
                  <c:v>44493</c:v>
                </c:pt>
                <c:pt idx="144">
                  <c:v>44494</c:v>
                </c:pt>
                <c:pt idx="145">
                  <c:v>44495</c:v>
                </c:pt>
                <c:pt idx="146">
                  <c:v>44496</c:v>
                </c:pt>
                <c:pt idx="147">
                  <c:v>44497</c:v>
                </c:pt>
                <c:pt idx="148">
                  <c:v>44498</c:v>
                </c:pt>
                <c:pt idx="149">
                  <c:v>44499</c:v>
                </c:pt>
                <c:pt idx="150">
                  <c:v>44500</c:v>
                </c:pt>
                <c:pt idx="151">
                  <c:v>44501</c:v>
                </c:pt>
                <c:pt idx="152">
                  <c:v>44502</c:v>
                </c:pt>
                <c:pt idx="153">
                  <c:v>44503</c:v>
                </c:pt>
                <c:pt idx="154">
                  <c:v>44504</c:v>
                </c:pt>
                <c:pt idx="155">
                  <c:v>44505</c:v>
                </c:pt>
                <c:pt idx="156">
                  <c:v>44506</c:v>
                </c:pt>
                <c:pt idx="157">
                  <c:v>44507</c:v>
                </c:pt>
                <c:pt idx="158">
                  <c:v>44508</c:v>
                </c:pt>
                <c:pt idx="159">
                  <c:v>44509</c:v>
                </c:pt>
                <c:pt idx="160">
                  <c:v>44510</c:v>
                </c:pt>
                <c:pt idx="161">
                  <c:v>44511</c:v>
                </c:pt>
                <c:pt idx="162">
                  <c:v>44512</c:v>
                </c:pt>
                <c:pt idx="163">
                  <c:v>44513</c:v>
                </c:pt>
                <c:pt idx="164">
                  <c:v>44514</c:v>
                </c:pt>
                <c:pt idx="165">
                  <c:v>44515</c:v>
                </c:pt>
                <c:pt idx="166">
                  <c:v>44516</c:v>
                </c:pt>
                <c:pt idx="167">
                  <c:v>44517</c:v>
                </c:pt>
                <c:pt idx="168">
                  <c:v>44518</c:v>
                </c:pt>
                <c:pt idx="169">
                  <c:v>44519</c:v>
                </c:pt>
                <c:pt idx="170">
                  <c:v>44520</c:v>
                </c:pt>
                <c:pt idx="171">
                  <c:v>44521</c:v>
                </c:pt>
                <c:pt idx="172">
                  <c:v>44522</c:v>
                </c:pt>
                <c:pt idx="173">
                  <c:v>44523</c:v>
                </c:pt>
                <c:pt idx="174">
                  <c:v>44524</c:v>
                </c:pt>
                <c:pt idx="175">
                  <c:v>44525</c:v>
                </c:pt>
                <c:pt idx="176">
                  <c:v>44526</c:v>
                </c:pt>
                <c:pt idx="177">
                  <c:v>44527</c:v>
                </c:pt>
                <c:pt idx="178">
                  <c:v>44528</c:v>
                </c:pt>
                <c:pt idx="179">
                  <c:v>44529</c:v>
                </c:pt>
                <c:pt idx="180">
                  <c:v>44530</c:v>
                </c:pt>
                <c:pt idx="181">
                  <c:v>44531</c:v>
                </c:pt>
                <c:pt idx="182">
                  <c:v>44532</c:v>
                </c:pt>
              </c:numCache>
            </c:numRef>
          </c:cat>
          <c:val>
            <c:numRef>
              <c:f>List1!$B$2:$B$184</c:f>
              <c:numCache>
                <c:formatCode>General</c:formatCode>
                <c:ptCount val="183"/>
                <c:pt idx="0">
                  <c:v>88</c:v>
                </c:pt>
                <c:pt idx="1">
                  <c:v>87</c:v>
                </c:pt>
                <c:pt idx="2">
                  <c:v>87</c:v>
                </c:pt>
                <c:pt idx="3">
                  <c:v>87</c:v>
                </c:pt>
                <c:pt idx="4">
                  <c:v>86</c:v>
                </c:pt>
                <c:pt idx="5">
                  <c:v>83</c:v>
                </c:pt>
                <c:pt idx="6">
                  <c:v>81</c:v>
                </c:pt>
                <c:pt idx="7">
                  <c:v>81</c:v>
                </c:pt>
                <c:pt idx="8">
                  <c:v>81</c:v>
                </c:pt>
                <c:pt idx="9">
                  <c:v>81</c:v>
                </c:pt>
                <c:pt idx="10">
                  <c:v>81</c:v>
                </c:pt>
                <c:pt idx="11">
                  <c:v>81</c:v>
                </c:pt>
                <c:pt idx="12">
                  <c:v>81</c:v>
                </c:pt>
                <c:pt idx="13">
                  <c:v>81</c:v>
                </c:pt>
                <c:pt idx="14">
                  <c:v>80</c:v>
                </c:pt>
                <c:pt idx="15">
                  <c:v>80</c:v>
                </c:pt>
                <c:pt idx="16">
                  <c:v>80</c:v>
                </c:pt>
                <c:pt idx="17">
                  <c:v>80</c:v>
                </c:pt>
                <c:pt idx="18">
                  <c:v>80</c:v>
                </c:pt>
                <c:pt idx="19">
                  <c:v>80</c:v>
                </c:pt>
                <c:pt idx="20">
                  <c:v>80</c:v>
                </c:pt>
                <c:pt idx="21">
                  <c:v>78</c:v>
                </c:pt>
                <c:pt idx="22">
                  <c:v>77</c:v>
                </c:pt>
                <c:pt idx="23">
                  <c:v>77</c:v>
                </c:pt>
                <c:pt idx="24">
                  <c:v>77</c:v>
                </c:pt>
                <c:pt idx="25">
                  <c:v>77</c:v>
                </c:pt>
                <c:pt idx="26">
                  <c:v>77</c:v>
                </c:pt>
                <c:pt idx="27">
                  <c:v>78</c:v>
                </c:pt>
                <c:pt idx="28">
                  <c:v>78</c:v>
                </c:pt>
                <c:pt idx="29">
                  <c:v>78</c:v>
                </c:pt>
                <c:pt idx="30">
                  <c:v>78</c:v>
                </c:pt>
                <c:pt idx="31">
                  <c:v>78</c:v>
                </c:pt>
                <c:pt idx="32">
                  <c:v>78</c:v>
                </c:pt>
                <c:pt idx="33">
                  <c:v>78</c:v>
                </c:pt>
                <c:pt idx="34">
                  <c:v>78</c:v>
                </c:pt>
                <c:pt idx="35">
                  <c:v>78</c:v>
                </c:pt>
                <c:pt idx="36">
                  <c:v>78</c:v>
                </c:pt>
                <c:pt idx="37">
                  <c:v>78</c:v>
                </c:pt>
                <c:pt idx="38">
                  <c:v>79</c:v>
                </c:pt>
                <c:pt idx="39">
                  <c:v>79</c:v>
                </c:pt>
                <c:pt idx="40">
                  <c:v>79</c:v>
                </c:pt>
                <c:pt idx="41">
                  <c:v>79</c:v>
                </c:pt>
                <c:pt idx="42">
                  <c:v>79</c:v>
                </c:pt>
                <c:pt idx="43">
                  <c:v>78</c:v>
                </c:pt>
                <c:pt idx="44">
                  <c:v>78</c:v>
                </c:pt>
                <c:pt idx="45">
                  <c:v>78</c:v>
                </c:pt>
                <c:pt idx="46">
                  <c:v>78</c:v>
                </c:pt>
                <c:pt idx="47">
                  <c:v>78</c:v>
                </c:pt>
                <c:pt idx="48">
                  <c:v>79</c:v>
                </c:pt>
                <c:pt idx="49">
                  <c:v>78</c:v>
                </c:pt>
                <c:pt idx="50">
                  <c:v>78</c:v>
                </c:pt>
                <c:pt idx="51">
                  <c:v>77</c:v>
                </c:pt>
                <c:pt idx="52">
                  <c:v>77</c:v>
                </c:pt>
                <c:pt idx="53">
                  <c:v>76</c:v>
                </c:pt>
                <c:pt idx="54">
                  <c:v>77</c:v>
                </c:pt>
                <c:pt idx="55">
                  <c:v>78</c:v>
                </c:pt>
                <c:pt idx="56">
                  <c:v>78</c:v>
                </c:pt>
                <c:pt idx="57">
                  <c:v>78</c:v>
                </c:pt>
                <c:pt idx="58">
                  <c:v>78</c:v>
                </c:pt>
                <c:pt idx="59">
                  <c:v>78</c:v>
                </c:pt>
                <c:pt idx="60">
                  <c:v>78</c:v>
                </c:pt>
                <c:pt idx="61">
                  <c:v>78</c:v>
                </c:pt>
                <c:pt idx="62">
                  <c:v>78</c:v>
                </c:pt>
                <c:pt idx="63">
                  <c:v>77</c:v>
                </c:pt>
                <c:pt idx="64">
                  <c:v>77</c:v>
                </c:pt>
                <c:pt idx="65">
                  <c:v>77</c:v>
                </c:pt>
                <c:pt idx="66">
                  <c:v>78</c:v>
                </c:pt>
                <c:pt idx="67">
                  <c:v>78</c:v>
                </c:pt>
                <c:pt idx="68">
                  <c:v>77</c:v>
                </c:pt>
                <c:pt idx="69">
                  <c:v>77</c:v>
                </c:pt>
                <c:pt idx="70">
                  <c:v>77</c:v>
                </c:pt>
                <c:pt idx="71">
                  <c:v>77</c:v>
                </c:pt>
                <c:pt idx="72">
                  <c:v>77</c:v>
                </c:pt>
                <c:pt idx="73">
                  <c:v>77</c:v>
                </c:pt>
                <c:pt idx="74">
                  <c:v>77</c:v>
                </c:pt>
                <c:pt idx="75">
                  <c:v>76</c:v>
                </c:pt>
                <c:pt idx="76">
                  <c:v>76</c:v>
                </c:pt>
                <c:pt idx="77">
                  <c:v>76</c:v>
                </c:pt>
                <c:pt idx="78">
                  <c:v>76</c:v>
                </c:pt>
                <c:pt idx="79">
                  <c:v>76</c:v>
                </c:pt>
                <c:pt idx="80">
                  <c:v>76</c:v>
                </c:pt>
                <c:pt idx="81">
                  <c:v>77</c:v>
                </c:pt>
                <c:pt idx="82">
                  <c:v>77</c:v>
                </c:pt>
                <c:pt idx="83">
                  <c:v>77</c:v>
                </c:pt>
                <c:pt idx="84">
                  <c:v>77</c:v>
                </c:pt>
                <c:pt idx="85">
                  <c:v>78</c:v>
                </c:pt>
                <c:pt idx="86">
                  <c:v>78</c:v>
                </c:pt>
                <c:pt idx="87">
                  <c:v>78</c:v>
                </c:pt>
                <c:pt idx="88">
                  <c:v>78</c:v>
                </c:pt>
                <c:pt idx="89">
                  <c:v>78</c:v>
                </c:pt>
                <c:pt idx="90">
                  <c:v>80</c:v>
                </c:pt>
                <c:pt idx="91">
                  <c:v>81</c:v>
                </c:pt>
                <c:pt idx="92">
                  <c:v>82</c:v>
                </c:pt>
                <c:pt idx="93">
                  <c:v>82</c:v>
                </c:pt>
                <c:pt idx="94">
                  <c:v>82</c:v>
                </c:pt>
                <c:pt idx="95">
                  <c:v>83</c:v>
                </c:pt>
                <c:pt idx="96">
                  <c:v>84</c:v>
                </c:pt>
                <c:pt idx="97">
                  <c:v>85</c:v>
                </c:pt>
                <c:pt idx="98">
                  <c:v>86</c:v>
                </c:pt>
                <c:pt idx="99">
                  <c:v>86</c:v>
                </c:pt>
                <c:pt idx="100">
                  <c:v>85</c:v>
                </c:pt>
                <c:pt idx="101">
                  <c:v>84</c:v>
                </c:pt>
                <c:pt idx="102">
                  <c:v>84</c:v>
                </c:pt>
                <c:pt idx="103">
                  <c:v>85</c:v>
                </c:pt>
                <c:pt idx="104">
                  <c:v>84</c:v>
                </c:pt>
                <c:pt idx="105">
                  <c:v>84</c:v>
                </c:pt>
                <c:pt idx="106">
                  <c:v>83</c:v>
                </c:pt>
                <c:pt idx="107">
                  <c:v>81</c:v>
                </c:pt>
                <c:pt idx="108">
                  <c:v>81</c:v>
                </c:pt>
                <c:pt idx="109">
                  <c:v>85</c:v>
                </c:pt>
                <c:pt idx="110">
                  <c:v>87</c:v>
                </c:pt>
                <c:pt idx="111">
                  <c:v>87</c:v>
                </c:pt>
                <c:pt idx="112">
                  <c:v>87</c:v>
                </c:pt>
                <c:pt idx="113">
                  <c:v>87</c:v>
                </c:pt>
                <c:pt idx="114">
                  <c:v>88</c:v>
                </c:pt>
                <c:pt idx="115">
                  <c:v>89</c:v>
                </c:pt>
                <c:pt idx="116">
                  <c:v>93</c:v>
                </c:pt>
                <c:pt idx="117">
                  <c:v>95</c:v>
                </c:pt>
                <c:pt idx="118">
                  <c:v>100</c:v>
                </c:pt>
                <c:pt idx="119">
                  <c:v>101</c:v>
                </c:pt>
                <c:pt idx="120">
                  <c:v>102</c:v>
                </c:pt>
                <c:pt idx="121">
                  <c:v>101</c:v>
                </c:pt>
                <c:pt idx="122">
                  <c:v>100</c:v>
                </c:pt>
                <c:pt idx="123">
                  <c:v>102</c:v>
                </c:pt>
                <c:pt idx="124">
                  <c:v>104</c:v>
                </c:pt>
                <c:pt idx="125">
                  <c:v>104</c:v>
                </c:pt>
                <c:pt idx="126">
                  <c:v>105</c:v>
                </c:pt>
                <c:pt idx="127">
                  <c:v>106</c:v>
                </c:pt>
                <c:pt idx="128">
                  <c:v>107</c:v>
                </c:pt>
                <c:pt idx="129">
                  <c:v>105</c:v>
                </c:pt>
                <c:pt idx="130">
                  <c:v>107</c:v>
                </c:pt>
                <c:pt idx="131">
                  <c:v>103</c:v>
                </c:pt>
                <c:pt idx="132">
                  <c:v>103</c:v>
                </c:pt>
                <c:pt idx="133">
                  <c:v>99</c:v>
                </c:pt>
                <c:pt idx="134">
                  <c:v>104</c:v>
                </c:pt>
                <c:pt idx="135">
                  <c:v>104</c:v>
                </c:pt>
                <c:pt idx="136">
                  <c:v>105</c:v>
                </c:pt>
                <c:pt idx="137">
                  <c:v>117</c:v>
                </c:pt>
                <c:pt idx="138">
                  <c:v>120</c:v>
                </c:pt>
                <c:pt idx="139">
                  <c:v>128</c:v>
                </c:pt>
                <c:pt idx="140">
                  <c:v>131</c:v>
                </c:pt>
                <c:pt idx="141">
                  <c:v>137</c:v>
                </c:pt>
                <c:pt idx="142">
                  <c:v>133</c:v>
                </c:pt>
                <c:pt idx="143">
                  <c:v>136</c:v>
                </c:pt>
                <c:pt idx="144">
                  <c:v>152</c:v>
                </c:pt>
                <c:pt idx="145">
                  <c:v>154</c:v>
                </c:pt>
                <c:pt idx="146">
                  <c:v>167</c:v>
                </c:pt>
                <c:pt idx="147">
                  <c:v>168</c:v>
                </c:pt>
                <c:pt idx="148">
                  <c:v>173</c:v>
                </c:pt>
                <c:pt idx="149">
                  <c:v>173</c:v>
                </c:pt>
                <c:pt idx="150">
                  <c:v>174</c:v>
                </c:pt>
                <c:pt idx="151">
                  <c:v>214</c:v>
                </c:pt>
                <c:pt idx="152">
                  <c:v>224</c:v>
                </c:pt>
                <c:pt idx="153">
                  <c:v>236</c:v>
                </c:pt>
                <c:pt idx="154">
                  <c:v>249</c:v>
                </c:pt>
                <c:pt idx="155">
                  <c:v>267</c:v>
                </c:pt>
                <c:pt idx="156">
                  <c:v>274</c:v>
                </c:pt>
                <c:pt idx="157">
                  <c:v>276</c:v>
                </c:pt>
                <c:pt idx="158">
                  <c:v>322</c:v>
                </c:pt>
                <c:pt idx="159">
                  <c:v>335</c:v>
                </c:pt>
                <c:pt idx="160">
                  <c:v>342</c:v>
                </c:pt>
                <c:pt idx="161">
                  <c:v>364</c:v>
                </c:pt>
                <c:pt idx="162">
                  <c:v>391</c:v>
                </c:pt>
                <c:pt idx="163">
                  <c:v>395</c:v>
                </c:pt>
                <c:pt idx="164">
                  <c:v>399</c:v>
                </c:pt>
                <c:pt idx="165">
                  <c:v>440</c:v>
                </c:pt>
                <c:pt idx="166">
                  <c:v>442</c:v>
                </c:pt>
                <c:pt idx="167">
                  <c:v>424</c:v>
                </c:pt>
                <c:pt idx="168">
                  <c:v>441</c:v>
                </c:pt>
                <c:pt idx="169">
                  <c:v>475</c:v>
                </c:pt>
                <c:pt idx="170">
                  <c:v>474</c:v>
                </c:pt>
                <c:pt idx="171">
                  <c:v>471</c:v>
                </c:pt>
                <c:pt idx="172">
                  <c:v>510</c:v>
                </c:pt>
                <c:pt idx="173">
                  <c:v>525</c:v>
                </c:pt>
                <c:pt idx="174">
                  <c:v>544</c:v>
                </c:pt>
                <c:pt idx="175">
                  <c:v>544</c:v>
                </c:pt>
                <c:pt idx="176">
                  <c:v>553</c:v>
                </c:pt>
                <c:pt idx="177">
                  <c:v>539</c:v>
                </c:pt>
                <c:pt idx="178">
                  <c:v>530</c:v>
                </c:pt>
                <c:pt idx="179">
                  <c:v>553</c:v>
                </c:pt>
                <c:pt idx="180">
                  <c:v>592</c:v>
                </c:pt>
                <c:pt idx="181">
                  <c:v>597</c:v>
                </c:pt>
                <c:pt idx="182">
                  <c:v>6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FD-43E4-BA1D-0B494D841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dateAx>
        <c:axId val="604314152"/>
        <c:scaling>
          <c:orientation val="minMax"/>
        </c:scaling>
        <c:delete val="0"/>
        <c:axPos val="b"/>
        <c:numFmt formatCode="dd/mm/yy;@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Offset val="100"/>
        <c:baseTimeUnit val="days"/>
        <c:majorUnit val="7"/>
      </c:dateAx>
      <c:valAx>
        <c:axId val="6043121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99CCF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rgbClr val="00206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184</c:f>
              <c:numCache>
                <c:formatCode>m/d/yyyy</c:formatCode>
                <c:ptCount val="183"/>
                <c:pt idx="0">
                  <c:v>44350</c:v>
                </c:pt>
                <c:pt idx="1">
                  <c:v>44351</c:v>
                </c:pt>
                <c:pt idx="2">
                  <c:v>44352</c:v>
                </c:pt>
                <c:pt idx="3">
                  <c:v>44353</c:v>
                </c:pt>
                <c:pt idx="4">
                  <c:v>44354</c:v>
                </c:pt>
                <c:pt idx="5">
                  <c:v>44355</c:v>
                </c:pt>
                <c:pt idx="6">
                  <c:v>44356</c:v>
                </c:pt>
                <c:pt idx="7">
                  <c:v>44357</c:v>
                </c:pt>
                <c:pt idx="8">
                  <c:v>44358</c:v>
                </c:pt>
                <c:pt idx="9">
                  <c:v>44359</c:v>
                </c:pt>
                <c:pt idx="10">
                  <c:v>44360</c:v>
                </c:pt>
                <c:pt idx="11">
                  <c:v>44361</c:v>
                </c:pt>
                <c:pt idx="12">
                  <c:v>44362</c:v>
                </c:pt>
                <c:pt idx="13">
                  <c:v>44363</c:v>
                </c:pt>
                <c:pt idx="14">
                  <c:v>44364</c:v>
                </c:pt>
                <c:pt idx="15">
                  <c:v>44365</c:v>
                </c:pt>
                <c:pt idx="16">
                  <c:v>44366</c:v>
                </c:pt>
                <c:pt idx="17">
                  <c:v>44367</c:v>
                </c:pt>
                <c:pt idx="18">
                  <c:v>44368</c:v>
                </c:pt>
                <c:pt idx="19">
                  <c:v>44369</c:v>
                </c:pt>
                <c:pt idx="20">
                  <c:v>44370</c:v>
                </c:pt>
                <c:pt idx="21">
                  <c:v>44371</c:v>
                </c:pt>
                <c:pt idx="22">
                  <c:v>44372</c:v>
                </c:pt>
                <c:pt idx="23">
                  <c:v>44373</c:v>
                </c:pt>
                <c:pt idx="24">
                  <c:v>44374</c:v>
                </c:pt>
                <c:pt idx="25">
                  <c:v>44375</c:v>
                </c:pt>
                <c:pt idx="26">
                  <c:v>44376</c:v>
                </c:pt>
                <c:pt idx="27">
                  <c:v>44377</c:v>
                </c:pt>
                <c:pt idx="28">
                  <c:v>44378</c:v>
                </c:pt>
                <c:pt idx="29">
                  <c:v>44379</c:v>
                </c:pt>
                <c:pt idx="30">
                  <c:v>44380</c:v>
                </c:pt>
                <c:pt idx="31">
                  <c:v>44381</c:v>
                </c:pt>
                <c:pt idx="32">
                  <c:v>44382</c:v>
                </c:pt>
                <c:pt idx="33">
                  <c:v>44383</c:v>
                </c:pt>
                <c:pt idx="34">
                  <c:v>44384</c:v>
                </c:pt>
                <c:pt idx="35">
                  <c:v>44385</c:v>
                </c:pt>
                <c:pt idx="36">
                  <c:v>44386</c:v>
                </c:pt>
                <c:pt idx="37">
                  <c:v>44387</c:v>
                </c:pt>
                <c:pt idx="38">
                  <c:v>44388</c:v>
                </c:pt>
                <c:pt idx="39">
                  <c:v>44389</c:v>
                </c:pt>
                <c:pt idx="40">
                  <c:v>44390</c:v>
                </c:pt>
                <c:pt idx="41">
                  <c:v>44391</c:v>
                </c:pt>
                <c:pt idx="42">
                  <c:v>44392</c:v>
                </c:pt>
                <c:pt idx="43">
                  <c:v>44393</c:v>
                </c:pt>
                <c:pt idx="44">
                  <c:v>44394</c:v>
                </c:pt>
                <c:pt idx="45">
                  <c:v>44395</c:v>
                </c:pt>
                <c:pt idx="46">
                  <c:v>44396</c:v>
                </c:pt>
                <c:pt idx="47">
                  <c:v>44397</c:v>
                </c:pt>
                <c:pt idx="48">
                  <c:v>44398</c:v>
                </c:pt>
                <c:pt idx="49">
                  <c:v>44399</c:v>
                </c:pt>
                <c:pt idx="50">
                  <c:v>44400</c:v>
                </c:pt>
                <c:pt idx="51">
                  <c:v>44401</c:v>
                </c:pt>
                <c:pt idx="52">
                  <c:v>44402</c:v>
                </c:pt>
                <c:pt idx="53">
                  <c:v>44403</c:v>
                </c:pt>
                <c:pt idx="54">
                  <c:v>44404</c:v>
                </c:pt>
                <c:pt idx="55">
                  <c:v>44405</c:v>
                </c:pt>
                <c:pt idx="56">
                  <c:v>44406</c:v>
                </c:pt>
                <c:pt idx="57">
                  <c:v>44407</c:v>
                </c:pt>
                <c:pt idx="58">
                  <c:v>44408</c:v>
                </c:pt>
                <c:pt idx="59">
                  <c:v>44409</c:v>
                </c:pt>
                <c:pt idx="60">
                  <c:v>44410</c:v>
                </c:pt>
                <c:pt idx="61">
                  <c:v>44411</c:v>
                </c:pt>
                <c:pt idx="62">
                  <c:v>44412</c:v>
                </c:pt>
                <c:pt idx="63">
                  <c:v>44413</c:v>
                </c:pt>
                <c:pt idx="64">
                  <c:v>44414</c:v>
                </c:pt>
                <c:pt idx="65">
                  <c:v>44415</c:v>
                </c:pt>
                <c:pt idx="66">
                  <c:v>44416</c:v>
                </c:pt>
                <c:pt idx="67">
                  <c:v>44417</c:v>
                </c:pt>
                <c:pt idx="68">
                  <c:v>44418</c:v>
                </c:pt>
                <c:pt idx="69">
                  <c:v>44419</c:v>
                </c:pt>
                <c:pt idx="70">
                  <c:v>44420</c:v>
                </c:pt>
                <c:pt idx="71">
                  <c:v>44421</c:v>
                </c:pt>
                <c:pt idx="72">
                  <c:v>44422</c:v>
                </c:pt>
                <c:pt idx="73">
                  <c:v>44423</c:v>
                </c:pt>
                <c:pt idx="74">
                  <c:v>44424</c:v>
                </c:pt>
                <c:pt idx="75">
                  <c:v>44425</c:v>
                </c:pt>
                <c:pt idx="76">
                  <c:v>44426</c:v>
                </c:pt>
                <c:pt idx="77">
                  <c:v>44427</c:v>
                </c:pt>
                <c:pt idx="78">
                  <c:v>44428</c:v>
                </c:pt>
                <c:pt idx="79">
                  <c:v>44429</c:v>
                </c:pt>
                <c:pt idx="80">
                  <c:v>44430</c:v>
                </c:pt>
                <c:pt idx="81">
                  <c:v>44431</c:v>
                </c:pt>
                <c:pt idx="82">
                  <c:v>44432</c:v>
                </c:pt>
                <c:pt idx="83">
                  <c:v>44433</c:v>
                </c:pt>
                <c:pt idx="84">
                  <c:v>44434</c:v>
                </c:pt>
                <c:pt idx="85">
                  <c:v>44435</c:v>
                </c:pt>
                <c:pt idx="86">
                  <c:v>44436</c:v>
                </c:pt>
                <c:pt idx="87">
                  <c:v>44437</c:v>
                </c:pt>
                <c:pt idx="88">
                  <c:v>44438</c:v>
                </c:pt>
                <c:pt idx="89">
                  <c:v>44439</c:v>
                </c:pt>
                <c:pt idx="90">
                  <c:v>44440</c:v>
                </c:pt>
                <c:pt idx="91">
                  <c:v>44441</c:v>
                </c:pt>
                <c:pt idx="92">
                  <c:v>44442</c:v>
                </c:pt>
                <c:pt idx="93">
                  <c:v>44443</c:v>
                </c:pt>
                <c:pt idx="94">
                  <c:v>44444</c:v>
                </c:pt>
                <c:pt idx="95">
                  <c:v>44445</c:v>
                </c:pt>
                <c:pt idx="96">
                  <c:v>44446</c:v>
                </c:pt>
                <c:pt idx="97">
                  <c:v>44447</c:v>
                </c:pt>
                <c:pt idx="98">
                  <c:v>44448</c:v>
                </c:pt>
                <c:pt idx="99">
                  <c:v>44449</c:v>
                </c:pt>
                <c:pt idx="100">
                  <c:v>44450</c:v>
                </c:pt>
                <c:pt idx="101">
                  <c:v>44451</c:v>
                </c:pt>
                <c:pt idx="102">
                  <c:v>44452</c:v>
                </c:pt>
                <c:pt idx="103">
                  <c:v>44453</c:v>
                </c:pt>
                <c:pt idx="104">
                  <c:v>44454</c:v>
                </c:pt>
                <c:pt idx="105">
                  <c:v>44455</c:v>
                </c:pt>
                <c:pt idx="106">
                  <c:v>44456</c:v>
                </c:pt>
                <c:pt idx="107">
                  <c:v>44457</c:v>
                </c:pt>
                <c:pt idx="108">
                  <c:v>44458</c:v>
                </c:pt>
                <c:pt idx="109">
                  <c:v>44459</c:v>
                </c:pt>
                <c:pt idx="110">
                  <c:v>44460</c:v>
                </c:pt>
                <c:pt idx="111">
                  <c:v>44461</c:v>
                </c:pt>
                <c:pt idx="112">
                  <c:v>44462</c:v>
                </c:pt>
                <c:pt idx="113">
                  <c:v>44463</c:v>
                </c:pt>
                <c:pt idx="114">
                  <c:v>44464</c:v>
                </c:pt>
                <c:pt idx="115">
                  <c:v>44465</c:v>
                </c:pt>
                <c:pt idx="116">
                  <c:v>44466</c:v>
                </c:pt>
                <c:pt idx="117">
                  <c:v>44467</c:v>
                </c:pt>
                <c:pt idx="118">
                  <c:v>44468</c:v>
                </c:pt>
                <c:pt idx="119">
                  <c:v>44469</c:v>
                </c:pt>
                <c:pt idx="120">
                  <c:v>44470</c:v>
                </c:pt>
                <c:pt idx="121">
                  <c:v>44471</c:v>
                </c:pt>
                <c:pt idx="122">
                  <c:v>44472</c:v>
                </c:pt>
                <c:pt idx="123">
                  <c:v>44473</c:v>
                </c:pt>
                <c:pt idx="124">
                  <c:v>44474</c:v>
                </c:pt>
                <c:pt idx="125">
                  <c:v>44475</c:v>
                </c:pt>
                <c:pt idx="126">
                  <c:v>44476</c:v>
                </c:pt>
                <c:pt idx="127">
                  <c:v>44477</c:v>
                </c:pt>
                <c:pt idx="128">
                  <c:v>44478</c:v>
                </c:pt>
                <c:pt idx="129">
                  <c:v>44479</c:v>
                </c:pt>
                <c:pt idx="130">
                  <c:v>44480</c:v>
                </c:pt>
                <c:pt idx="131">
                  <c:v>44481</c:v>
                </c:pt>
                <c:pt idx="132">
                  <c:v>44482</c:v>
                </c:pt>
                <c:pt idx="133">
                  <c:v>44483</c:v>
                </c:pt>
                <c:pt idx="134">
                  <c:v>44484</c:v>
                </c:pt>
                <c:pt idx="135">
                  <c:v>44485</c:v>
                </c:pt>
                <c:pt idx="136">
                  <c:v>44486</c:v>
                </c:pt>
                <c:pt idx="137">
                  <c:v>44487</c:v>
                </c:pt>
                <c:pt idx="138">
                  <c:v>44488</c:v>
                </c:pt>
                <c:pt idx="139">
                  <c:v>44489</c:v>
                </c:pt>
                <c:pt idx="140">
                  <c:v>44490</c:v>
                </c:pt>
                <c:pt idx="141">
                  <c:v>44491</c:v>
                </c:pt>
                <c:pt idx="142">
                  <c:v>44492</c:v>
                </c:pt>
                <c:pt idx="143">
                  <c:v>44493</c:v>
                </c:pt>
                <c:pt idx="144">
                  <c:v>44494</c:v>
                </c:pt>
                <c:pt idx="145">
                  <c:v>44495</c:v>
                </c:pt>
                <c:pt idx="146">
                  <c:v>44496</c:v>
                </c:pt>
                <c:pt idx="147">
                  <c:v>44497</c:v>
                </c:pt>
                <c:pt idx="148">
                  <c:v>44498</c:v>
                </c:pt>
                <c:pt idx="149">
                  <c:v>44499</c:v>
                </c:pt>
                <c:pt idx="150">
                  <c:v>44500</c:v>
                </c:pt>
                <c:pt idx="151">
                  <c:v>44501</c:v>
                </c:pt>
                <c:pt idx="152">
                  <c:v>44502</c:v>
                </c:pt>
                <c:pt idx="153">
                  <c:v>44503</c:v>
                </c:pt>
                <c:pt idx="154">
                  <c:v>44504</c:v>
                </c:pt>
                <c:pt idx="155">
                  <c:v>44505</c:v>
                </c:pt>
                <c:pt idx="156">
                  <c:v>44506</c:v>
                </c:pt>
                <c:pt idx="157">
                  <c:v>44507</c:v>
                </c:pt>
                <c:pt idx="158">
                  <c:v>44508</c:v>
                </c:pt>
                <c:pt idx="159">
                  <c:v>44509</c:v>
                </c:pt>
                <c:pt idx="160">
                  <c:v>44510</c:v>
                </c:pt>
                <c:pt idx="161">
                  <c:v>44511</c:v>
                </c:pt>
                <c:pt idx="162">
                  <c:v>44512</c:v>
                </c:pt>
                <c:pt idx="163">
                  <c:v>44513</c:v>
                </c:pt>
                <c:pt idx="164">
                  <c:v>44514</c:v>
                </c:pt>
                <c:pt idx="165">
                  <c:v>44515</c:v>
                </c:pt>
                <c:pt idx="166">
                  <c:v>44516</c:v>
                </c:pt>
                <c:pt idx="167">
                  <c:v>44517</c:v>
                </c:pt>
                <c:pt idx="168">
                  <c:v>44518</c:v>
                </c:pt>
                <c:pt idx="169">
                  <c:v>44519</c:v>
                </c:pt>
                <c:pt idx="170">
                  <c:v>44520</c:v>
                </c:pt>
                <c:pt idx="171">
                  <c:v>44521</c:v>
                </c:pt>
                <c:pt idx="172">
                  <c:v>44522</c:v>
                </c:pt>
                <c:pt idx="173">
                  <c:v>44523</c:v>
                </c:pt>
                <c:pt idx="174">
                  <c:v>44524</c:v>
                </c:pt>
                <c:pt idx="175">
                  <c:v>44525</c:v>
                </c:pt>
                <c:pt idx="176">
                  <c:v>44526</c:v>
                </c:pt>
                <c:pt idx="177">
                  <c:v>44527</c:v>
                </c:pt>
                <c:pt idx="178">
                  <c:v>44528</c:v>
                </c:pt>
                <c:pt idx="179">
                  <c:v>44529</c:v>
                </c:pt>
                <c:pt idx="180">
                  <c:v>44530</c:v>
                </c:pt>
                <c:pt idx="181">
                  <c:v>44531</c:v>
                </c:pt>
                <c:pt idx="182">
                  <c:v>44532</c:v>
                </c:pt>
              </c:numCache>
            </c:numRef>
          </c:cat>
          <c:val>
            <c:numRef>
              <c:f>Sheet1!$B$2:$B$184</c:f>
              <c:numCache>
                <c:formatCode>#\ ##0_ ;\-#\ ##0\ </c:formatCode>
                <c:ptCount val="183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1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1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1</c:v>
                </c:pt>
                <c:pt idx="55">
                  <c:v>2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1</c:v>
                </c:pt>
                <c:pt idx="67">
                  <c:v>0</c:v>
                </c:pt>
                <c:pt idx="68">
                  <c:v>0</c:v>
                </c:pt>
                <c:pt idx="69">
                  <c:v>1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1</c:v>
                </c:pt>
                <c:pt idx="82">
                  <c:v>0</c:v>
                </c:pt>
                <c:pt idx="83">
                  <c:v>0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2</c:v>
                </c:pt>
                <c:pt idx="91">
                  <c:v>1</c:v>
                </c:pt>
                <c:pt idx="92">
                  <c:v>1</c:v>
                </c:pt>
                <c:pt idx="93">
                  <c:v>0</c:v>
                </c:pt>
                <c:pt idx="94">
                  <c:v>0</c:v>
                </c:pt>
                <c:pt idx="95">
                  <c:v>1</c:v>
                </c:pt>
                <c:pt idx="96">
                  <c:v>2</c:v>
                </c:pt>
                <c:pt idx="97">
                  <c:v>1</c:v>
                </c:pt>
                <c:pt idx="98">
                  <c:v>1</c:v>
                </c:pt>
                <c:pt idx="99">
                  <c:v>0</c:v>
                </c:pt>
                <c:pt idx="100">
                  <c:v>0</c:v>
                </c:pt>
                <c:pt idx="101">
                  <c:v>1</c:v>
                </c:pt>
                <c:pt idx="102">
                  <c:v>0</c:v>
                </c:pt>
                <c:pt idx="103">
                  <c:v>1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1</c:v>
                </c:pt>
                <c:pt idx="108">
                  <c:v>0</c:v>
                </c:pt>
                <c:pt idx="109">
                  <c:v>4</c:v>
                </c:pt>
                <c:pt idx="110">
                  <c:v>3</c:v>
                </c:pt>
                <c:pt idx="111">
                  <c:v>2</c:v>
                </c:pt>
                <c:pt idx="112">
                  <c:v>0</c:v>
                </c:pt>
                <c:pt idx="113">
                  <c:v>0</c:v>
                </c:pt>
                <c:pt idx="114">
                  <c:v>1</c:v>
                </c:pt>
                <c:pt idx="115">
                  <c:v>1</c:v>
                </c:pt>
                <c:pt idx="116">
                  <c:v>5</c:v>
                </c:pt>
                <c:pt idx="117">
                  <c:v>2</c:v>
                </c:pt>
                <c:pt idx="118">
                  <c:v>7</c:v>
                </c:pt>
                <c:pt idx="119">
                  <c:v>3</c:v>
                </c:pt>
                <c:pt idx="120">
                  <c:v>2</c:v>
                </c:pt>
                <c:pt idx="121">
                  <c:v>0</c:v>
                </c:pt>
                <c:pt idx="122">
                  <c:v>0</c:v>
                </c:pt>
                <c:pt idx="123">
                  <c:v>3</c:v>
                </c:pt>
                <c:pt idx="124">
                  <c:v>5</c:v>
                </c:pt>
                <c:pt idx="125">
                  <c:v>2</c:v>
                </c:pt>
                <c:pt idx="126">
                  <c:v>1</c:v>
                </c:pt>
                <c:pt idx="127">
                  <c:v>2</c:v>
                </c:pt>
                <c:pt idx="128">
                  <c:v>1</c:v>
                </c:pt>
                <c:pt idx="129">
                  <c:v>0</c:v>
                </c:pt>
                <c:pt idx="130">
                  <c:v>2</c:v>
                </c:pt>
                <c:pt idx="131">
                  <c:v>3</c:v>
                </c:pt>
                <c:pt idx="132">
                  <c:v>1</c:v>
                </c:pt>
                <c:pt idx="133">
                  <c:v>3</c:v>
                </c:pt>
                <c:pt idx="134">
                  <c:v>6</c:v>
                </c:pt>
                <c:pt idx="135">
                  <c:v>2</c:v>
                </c:pt>
                <c:pt idx="136">
                  <c:v>1</c:v>
                </c:pt>
                <c:pt idx="137">
                  <c:v>12</c:v>
                </c:pt>
                <c:pt idx="138">
                  <c:v>7</c:v>
                </c:pt>
                <c:pt idx="139">
                  <c:v>9</c:v>
                </c:pt>
                <c:pt idx="140">
                  <c:v>7</c:v>
                </c:pt>
                <c:pt idx="141">
                  <c:v>10</c:v>
                </c:pt>
                <c:pt idx="142">
                  <c:v>0</c:v>
                </c:pt>
                <c:pt idx="143">
                  <c:v>3</c:v>
                </c:pt>
                <c:pt idx="144">
                  <c:v>17</c:v>
                </c:pt>
                <c:pt idx="145">
                  <c:v>5</c:v>
                </c:pt>
                <c:pt idx="146">
                  <c:v>16</c:v>
                </c:pt>
                <c:pt idx="147">
                  <c:v>3</c:v>
                </c:pt>
                <c:pt idx="148">
                  <c:v>8</c:v>
                </c:pt>
                <c:pt idx="149">
                  <c:v>5</c:v>
                </c:pt>
                <c:pt idx="150">
                  <c:v>4</c:v>
                </c:pt>
                <c:pt idx="151">
                  <c:v>40</c:v>
                </c:pt>
                <c:pt idx="152">
                  <c:v>25</c:v>
                </c:pt>
                <c:pt idx="153">
                  <c:v>19</c:v>
                </c:pt>
                <c:pt idx="154">
                  <c:v>24</c:v>
                </c:pt>
                <c:pt idx="155">
                  <c:v>27</c:v>
                </c:pt>
                <c:pt idx="156">
                  <c:v>13</c:v>
                </c:pt>
                <c:pt idx="157">
                  <c:v>5</c:v>
                </c:pt>
                <c:pt idx="158">
                  <c:v>50</c:v>
                </c:pt>
                <c:pt idx="159">
                  <c:v>25</c:v>
                </c:pt>
                <c:pt idx="160" formatCode="General">
                  <c:v>26</c:v>
                </c:pt>
                <c:pt idx="161" formatCode="General">
                  <c:v>32</c:v>
                </c:pt>
                <c:pt idx="162" formatCode="General">
                  <c:v>32</c:v>
                </c:pt>
                <c:pt idx="163" formatCode="General">
                  <c:v>17</c:v>
                </c:pt>
                <c:pt idx="164" formatCode="General">
                  <c:v>13</c:v>
                </c:pt>
                <c:pt idx="165" formatCode="General">
                  <c:v>50</c:v>
                </c:pt>
                <c:pt idx="166" formatCode="General">
                  <c:v>39</c:v>
                </c:pt>
                <c:pt idx="167" formatCode="General">
                  <c:v>12</c:v>
                </c:pt>
                <c:pt idx="168" formatCode="General">
                  <c:v>41</c:v>
                </c:pt>
                <c:pt idx="169" formatCode="General">
                  <c:v>61</c:v>
                </c:pt>
                <c:pt idx="170" formatCode="General">
                  <c:v>24</c:v>
                </c:pt>
                <c:pt idx="171" formatCode="General">
                  <c:v>8</c:v>
                </c:pt>
                <c:pt idx="172" formatCode="General">
                  <c:v>48</c:v>
                </c:pt>
                <c:pt idx="173" formatCode="General">
                  <c:v>56</c:v>
                </c:pt>
                <c:pt idx="174" formatCode="General">
                  <c:v>57</c:v>
                </c:pt>
                <c:pt idx="175" formatCode="General">
                  <c:v>46</c:v>
                </c:pt>
                <c:pt idx="176" formatCode="General">
                  <c:v>50</c:v>
                </c:pt>
                <c:pt idx="177" formatCode="General">
                  <c:v>21</c:v>
                </c:pt>
                <c:pt idx="178" formatCode="General">
                  <c:v>11</c:v>
                </c:pt>
                <c:pt idx="179" formatCode="General">
                  <c:v>35</c:v>
                </c:pt>
                <c:pt idx="180" formatCode="General">
                  <c:v>52</c:v>
                </c:pt>
                <c:pt idx="181" formatCode="General">
                  <c:v>31</c:v>
                </c:pt>
                <c:pt idx="182" formatCode="General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2B-4678-9FFD-46841F3CB3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  <c:majorUnit val="7"/>
        <c:majorTimeUnit val="days"/>
      </c:dateAx>
      <c:valAx>
        <c:axId val="5339250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529925759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O$1:$AB$1</c:f>
              <c:strCache>
                <c:ptCount val="14"/>
                <c:pt idx="0">
                  <c:v>27.08 - 02.09</c:v>
                </c:pt>
                <c:pt idx="1">
                  <c:v>03.09 - 09.09</c:v>
                </c:pt>
                <c:pt idx="2">
                  <c:v>10.09 - 16.09</c:v>
                </c:pt>
                <c:pt idx="3">
                  <c:v>17.09 - 23.09</c:v>
                </c:pt>
                <c:pt idx="4">
                  <c:v>24.09 - 30.09</c:v>
                </c:pt>
                <c:pt idx="5">
                  <c:v>01.10 - 07.10</c:v>
                </c:pt>
                <c:pt idx="6">
                  <c:v>08.10 - 14.10</c:v>
                </c:pt>
                <c:pt idx="7">
                  <c:v>15.10 - 21.10</c:v>
                </c:pt>
                <c:pt idx="8">
                  <c:v>22.10 - 28.10</c:v>
                </c:pt>
                <c:pt idx="9">
                  <c:v>29.10 - 04.11</c:v>
                </c:pt>
                <c:pt idx="10">
                  <c:v>05.11 - 11.11</c:v>
                </c:pt>
                <c:pt idx="11">
                  <c:v>12.11 - 18.11</c:v>
                </c:pt>
                <c:pt idx="12">
                  <c:v>19.11 - 25.11</c:v>
                </c:pt>
                <c:pt idx="13">
                  <c:v>26.11 - 02.12</c:v>
                </c:pt>
              </c:strCache>
            </c:strRef>
          </c:cat>
          <c:val>
            <c:numRef>
              <c:f>List1!$O$2:$AB$2</c:f>
              <c:numCache>
                <c:formatCode>General</c:formatCode>
                <c:ptCount val="14"/>
                <c:pt idx="0">
                  <c:v>0.4874482</c:v>
                </c:pt>
                <c:pt idx="1">
                  <c:v>0.69635449999999999</c:v>
                </c:pt>
                <c:pt idx="2">
                  <c:v>1.2534381999999999</c:v>
                </c:pt>
                <c:pt idx="3">
                  <c:v>2.6461473999999998</c:v>
                </c:pt>
                <c:pt idx="4">
                  <c:v>8.6347968000000002</c:v>
                </c:pt>
                <c:pt idx="5">
                  <c:v>49.301904499999999</c:v>
                </c:pt>
                <c:pt idx="6">
                  <c:v>103.89610380000001</c:v>
                </c:pt>
                <c:pt idx="7">
                  <c:v>166.70728729999999</c:v>
                </c:pt>
                <c:pt idx="8">
                  <c:v>243.4455624</c:v>
                </c:pt>
                <c:pt idx="9">
                  <c:v>272.27464220000002</c:v>
                </c:pt>
                <c:pt idx="10">
                  <c:v>187.04084109999999</c:v>
                </c:pt>
                <c:pt idx="11">
                  <c:v>127.5721597</c:v>
                </c:pt>
                <c:pt idx="12">
                  <c:v>87.879948400000004</c:v>
                </c:pt>
                <c:pt idx="13">
                  <c:v>59.7472232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609-4D55-AD38-109C0C8C5BC2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O$1:$AB$1</c:f>
              <c:strCache>
                <c:ptCount val="14"/>
                <c:pt idx="0">
                  <c:v>27.08 - 02.09</c:v>
                </c:pt>
                <c:pt idx="1">
                  <c:v>03.09 - 09.09</c:v>
                </c:pt>
                <c:pt idx="2">
                  <c:v>10.09 - 16.09</c:v>
                </c:pt>
                <c:pt idx="3">
                  <c:v>17.09 - 23.09</c:v>
                </c:pt>
                <c:pt idx="4">
                  <c:v>24.09 - 30.09</c:v>
                </c:pt>
                <c:pt idx="5">
                  <c:v>01.10 - 07.10</c:v>
                </c:pt>
                <c:pt idx="6">
                  <c:v>08.10 - 14.10</c:v>
                </c:pt>
                <c:pt idx="7">
                  <c:v>15.10 - 21.10</c:v>
                </c:pt>
                <c:pt idx="8">
                  <c:v>22.10 - 28.10</c:v>
                </c:pt>
                <c:pt idx="9">
                  <c:v>29.10 - 04.11</c:v>
                </c:pt>
                <c:pt idx="10">
                  <c:v>05.11 - 11.11</c:v>
                </c:pt>
                <c:pt idx="11">
                  <c:v>12.11 - 18.11</c:v>
                </c:pt>
                <c:pt idx="12">
                  <c:v>19.11 - 25.11</c:v>
                </c:pt>
                <c:pt idx="13">
                  <c:v>26.11 - 02.12</c:v>
                </c:pt>
              </c:strCache>
            </c:strRef>
          </c:cat>
          <c:val>
            <c:numRef>
              <c:f>List1!$O$3:$AB$3</c:f>
              <c:numCache>
                <c:formatCode>General</c:formatCode>
                <c:ptCount val="14"/>
                <c:pt idx="0">
                  <c:v>0.69635449999999999</c:v>
                </c:pt>
                <c:pt idx="1">
                  <c:v>0.83562550000000002</c:v>
                </c:pt>
                <c:pt idx="2">
                  <c:v>0.27854180000000001</c:v>
                </c:pt>
                <c:pt idx="3">
                  <c:v>1.3927091</c:v>
                </c:pt>
                <c:pt idx="4">
                  <c:v>2.6461473999999998</c:v>
                </c:pt>
                <c:pt idx="5">
                  <c:v>1.8105218999999999</c:v>
                </c:pt>
                <c:pt idx="6">
                  <c:v>1.671251</c:v>
                </c:pt>
                <c:pt idx="7">
                  <c:v>6.1279203000000004</c:v>
                </c:pt>
                <c:pt idx="8">
                  <c:v>7.5206295000000001</c:v>
                </c:pt>
                <c:pt idx="9">
                  <c:v>17.4088645</c:v>
                </c:pt>
                <c:pt idx="10">
                  <c:v>24.790223099999999</c:v>
                </c:pt>
                <c:pt idx="11">
                  <c:v>28.411266999999999</c:v>
                </c:pt>
                <c:pt idx="12">
                  <c:v>41.781275000000001</c:v>
                </c:pt>
                <c:pt idx="13">
                  <c:v>31.6144980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609-4D55-AD38-109C0C8C5B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Královéhradecký kraj</c:v>
                </c:pt>
                <c:pt idx="2">
                  <c:v>Kraj Vysočina</c:v>
                </c:pt>
                <c:pt idx="3">
                  <c:v>Středočeský kraj</c:v>
                </c:pt>
                <c:pt idx="4">
                  <c:v>Liberecký kraj</c:v>
                </c:pt>
                <c:pt idx="5">
                  <c:v>Ústecký kraj</c:v>
                </c:pt>
                <c:pt idx="6">
                  <c:v>Jihočeský kraj</c:v>
                </c:pt>
                <c:pt idx="7">
                  <c:v>Hlavní město Praha</c:v>
                </c:pt>
                <c:pt idx="8">
                  <c:v>Pardubický kraj</c:v>
                </c:pt>
                <c:pt idx="9">
                  <c:v>ČR</c:v>
                </c:pt>
                <c:pt idx="10">
                  <c:v>Olomoucký kraj</c:v>
                </c:pt>
                <c:pt idx="11">
                  <c:v>Jihomoravský kraj</c:v>
                </c:pt>
                <c:pt idx="12">
                  <c:v>Zlínský kraj</c:v>
                </c:pt>
                <c:pt idx="13">
                  <c:v>Karlovarský kraj</c:v>
                </c:pt>
                <c:pt idx="14">
                  <c:v>Moravskoslez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93.412530000000004</c:v>
                </c:pt>
                <c:pt idx="1">
                  <c:v>89.989890000000003</c:v>
                </c:pt>
                <c:pt idx="2">
                  <c:v>89.795919999999995</c:v>
                </c:pt>
                <c:pt idx="3">
                  <c:v>89.697149999999993</c:v>
                </c:pt>
                <c:pt idx="4">
                  <c:v>89.685040000000001</c:v>
                </c:pt>
                <c:pt idx="5">
                  <c:v>89.065510000000003</c:v>
                </c:pt>
                <c:pt idx="6">
                  <c:v>88.851020000000005</c:v>
                </c:pt>
                <c:pt idx="7">
                  <c:v>88.784099999999995</c:v>
                </c:pt>
                <c:pt idx="8">
                  <c:v>88.601039999999998</c:v>
                </c:pt>
                <c:pt idx="9">
                  <c:v>87.593469999999996</c:v>
                </c:pt>
                <c:pt idx="10">
                  <c:v>87.059899999999999</c:v>
                </c:pt>
                <c:pt idx="11">
                  <c:v>84.592759999999998</c:v>
                </c:pt>
                <c:pt idx="12">
                  <c:v>84.405460000000005</c:v>
                </c:pt>
                <c:pt idx="13">
                  <c:v>84.255319999999998</c:v>
                </c:pt>
                <c:pt idx="14">
                  <c:v>83.49885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38-498E-AF17-8F5778D625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in val="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Ústecký kraj</c:v>
                </c:pt>
                <c:pt idx="1">
                  <c:v>Plzeňský kraj</c:v>
                </c:pt>
                <c:pt idx="2">
                  <c:v>Středočeský kraj</c:v>
                </c:pt>
                <c:pt idx="3">
                  <c:v>Kraj Vysočina</c:v>
                </c:pt>
                <c:pt idx="4">
                  <c:v>Hlavní město Praha</c:v>
                </c:pt>
                <c:pt idx="5">
                  <c:v>Královéhradecký kraj</c:v>
                </c:pt>
                <c:pt idx="6">
                  <c:v>Karlovarský kraj</c:v>
                </c:pt>
                <c:pt idx="7">
                  <c:v>Jihočeský kraj</c:v>
                </c:pt>
                <c:pt idx="8">
                  <c:v>ČR</c:v>
                </c:pt>
                <c:pt idx="9">
                  <c:v>Liberecký kraj</c:v>
                </c:pt>
                <c:pt idx="10">
                  <c:v>Jihomoravský kraj</c:v>
                </c:pt>
                <c:pt idx="11">
                  <c:v>Pardubický kraj</c:v>
                </c:pt>
                <c:pt idx="12">
                  <c:v>Moravskoslezský kraj</c:v>
                </c:pt>
                <c:pt idx="13">
                  <c:v>Zlín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87.460740000000001</c:v>
                </c:pt>
                <c:pt idx="1">
                  <c:v>87.251890000000003</c:v>
                </c:pt>
                <c:pt idx="2">
                  <c:v>86.442499999999995</c:v>
                </c:pt>
                <c:pt idx="3">
                  <c:v>86.335800000000006</c:v>
                </c:pt>
                <c:pt idx="4">
                  <c:v>85.386870000000002</c:v>
                </c:pt>
                <c:pt idx="5">
                  <c:v>85.271519999999995</c:v>
                </c:pt>
                <c:pt idx="6">
                  <c:v>83.924840000000003</c:v>
                </c:pt>
                <c:pt idx="7">
                  <c:v>83.355180000000004</c:v>
                </c:pt>
                <c:pt idx="8">
                  <c:v>82.773319999999998</c:v>
                </c:pt>
                <c:pt idx="9">
                  <c:v>82.244320000000002</c:v>
                </c:pt>
                <c:pt idx="10">
                  <c:v>81.5989</c:v>
                </c:pt>
                <c:pt idx="11">
                  <c:v>79.58963</c:v>
                </c:pt>
                <c:pt idx="12">
                  <c:v>77.637680000000003</c:v>
                </c:pt>
                <c:pt idx="13">
                  <c:v>77.327110000000005</c:v>
                </c:pt>
                <c:pt idx="14">
                  <c:v>75.86682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40-47DE-ACA1-8E4053576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ax val="10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6</c:f>
              <c:strCache>
                <c:ptCount val="35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9 Zdravotní laborant</c:v>
                </c:pt>
                <c:pt idx="4">
                  <c:v>§ 19 Farmaceutický asistent</c:v>
                </c:pt>
                <c:pt idx="5">
                  <c:v>§ 36 Ošetřovatel</c:v>
                </c:pt>
                <c:pt idx="6">
                  <c:v>§ 18 Zdravotnický záchranář</c:v>
                </c:pt>
                <c:pt idx="7">
                  <c:v>§ 39 Zubní instrumentářka</c:v>
                </c:pt>
                <c:pt idx="8">
                  <c:v>§ 8 Radiologický asistent</c:v>
                </c:pt>
                <c:pt idx="9">
                  <c:v>§ 26 Odborný pracovník v laboratorních metodách a v přípravě léčivých přípravků</c:v>
                </c:pt>
                <c:pt idx="10">
                  <c:v>§ 16 Zubní technik</c:v>
                </c:pt>
                <c:pt idx="11">
                  <c:v>§ 40 Řidič zdravotnické dopravní služby</c:v>
                </c:pt>
                <c:pt idx="12">
                  <c:v>§ 35 Řidič vozidla zdravotnické záchranné služby</c:v>
                </c:pt>
                <c:pt idx="13">
                  <c:v>§ 17 Dentální hygienistka</c:v>
                </c:pt>
                <c:pt idx="14">
                  <c:v>§ 22 Psycholog ve zdravotnictví</c:v>
                </c:pt>
                <c:pt idx="15">
                  <c:v>§ 37 Masér ve zdravotnictví, nevidomý a slabozraký masér ve zdravotnictví</c:v>
                </c:pt>
                <c:pt idx="16">
                  <c:v>§ 15 Nutriční terapeut</c:v>
                </c:pt>
                <c:pt idx="17">
                  <c:v>§ 11 Optometrista</c:v>
                </c:pt>
                <c:pt idx="18">
                  <c:v>§ 10 Zdravotně-sociální pracovník</c:v>
                </c:pt>
                <c:pt idx="19">
                  <c:v>§ 7 Ergoterapeut</c:v>
                </c:pt>
                <c:pt idx="20">
                  <c:v>§ 23 Logoped ve zdravotnictví</c:v>
                </c:pt>
                <c:pt idx="21">
                  <c:v>§ 30 Laboratorní asistent</c:v>
                </c:pt>
                <c:pt idx="22">
                  <c:v>§ 27 Biomedicínský inženýr</c:v>
                </c:pt>
                <c:pt idx="23">
                  <c:v>§ 33 Asistent zubního technika</c:v>
                </c:pt>
                <c:pt idx="24">
                  <c:v>§ 21a Adiktolog</c:v>
                </c:pt>
                <c:pt idx="25">
                  <c:v>§ 28 Odborný pracovník v ochraně a podpoře veřejného zdraví</c:v>
                </c:pt>
                <c:pt idx="26">
                  <c:v>§ 13 Asistent ochrany a podpory veřejného zdraví</c:v>
                </c:pt>
                <c:pt idx="27">
                  <c:v>§ 14 Ortotik-protetik</c:v>
                </c:pt>
                <c:pt idx="28">
                  <c:v>§ 20 Biomedicínský technik</c:v>
                </c:pt>
                <c:pt idx="29">
                  <c:v>§ 25 Radiologický fyzik</c:v>
                </c:pt>
                <c:pt idx="30">
                  <c:v>§ 12 Ortoptista</c:v>
                </c:pt>
                <c:pt idx="31">
                  <c:v>§ 31 Ortoticko-protetický technik</c:v>
                </c:pt>
                <c:pt idx="32">
                  <c:v>§ 32 Nutriční asistent</c:v>
                </c:pt>
                <c:pt idx="33">
                  <c:v>§ 41 Autoptický laborant</c:v>
                </c:pt>
                <c:pt idx="34">
                  <c:v>§ 21 Radiologický technik</c:v>
                </c:pt>
              </c:strCache>
            </c:strRef>
          </c:cat>
          <c:val>
            <c:numRef>
              <c:f>List1!$B$2:$B$36</c:f>
              <c:numCache>
                <c:formatCode>General</c:formatCode>
                <c:ptCount val="35"/>
                <c:pt idx="0">
                  <c:v>3217</c:v>
                </c:pt>
                <c:pt idx="1">
                  <c:v>1443</c:v>
                </c:pt>
                <c:pt idx="2">
                  <c:v>1202</c:v>
                </c:pt>
                <c:pt idx="3">
                  <c:v>1043</c:v>
                </c:pt>
                <c:pt idx="4">
                  <c:v>977</c:v>
                </c:pt>
                <c:pt idx="5">
                  <c:v>726</c:v>
                </c:pt>
                <c:pt idx="6">
                  <c:v>546</c:v>
                </c:pt>
                <c:pt idx="7">
                  <c:v>529</c:v>
                </c:pt>
                <c:pt idx="8">
                  <c:v>443</c:v>
                </c:pt>
                <c:pt idx="9">
                  <c:v>392</c:v>
                </c:pt>
                <c:pt idx="10">
                  <c:v>387</c:v>
                </c:pt>
                <c:pt idx="11">
                  <c:v>322</c:v>
                </c:pt>
                <c:pt idx="12">
                  <c:v>241</c:v>
                </c:pt>
                <c:pt idx="13">
                  <c:v>188</c:v>
                </c:pt>
                <c:pt idx="14">
                  <c:v>182</c:v>
                </c:pt>
                <c:pt idx="15">
                  <c:v>164</c:v>
                </c:pt>
                <c:pt idx="16">
                  <c:v>130</c:v>
                </c:pt>
                <c:pt idx="17">
                  <c:v>124</c:v>
                </c:pt>
                <c:pt idx="18">
                  <c:v>117</c:v>
                </c:pt>
                <c:pt idx="19">
                  <c:v>113</c:v>
                </c:pt>
                <c:pt idx="20">
                  <c:v>106</c:v>
                </c:pt>
                <c:pt idx="21">
                  <c:v>100</c:v>
                </c:pt>
                <c:pt idx="22">
                  <c:v>54</c:v>
                </c:pt>
                <c:pt idx="23">
                  <c:v>40</c:v>
                </c:pt>
                <c:pt idx="24">
                  <c:v>27</c:v>
                </c:pt>
                <c:pt idx="25">
                  <c:v>27</c:v>
                </c:pt>
                <c:pt idx="26">
                  <c:v>19</c:v>
                </c:pt>
                <c:pt idx="27">
                  <c:v>16</c:v>
                </c:pt>
                <c:pt idx="28">
                  <c:v>13</c:v>
                </c:pt>
                <c:pt idx="29">
                  <c:v>13</c:v>
                </c:pt>
                <c:pt idx="30">
                  <c:v>8</c:v>
                </c:pt>
                <c:pt idx="31">
                  <c:v>7</c:v>
                </c:pt>
                <c:pt idx="32">
                  <c:v>7</c:v>
                </c:pt>
                <c:pt idx="33">
                  <c:v>3</c:v>
                </c:pt>
                <c:pt idx="3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6</c:f>
              <c:strCache>
                <c:ptCount val="35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9 Zdravotní laborant</c:v>
                </c:pt>
                <c:pt idx="4">
                  <c:v>§ 19 Farmaceutický asistent</c:v>
                </c:pt>
                <c:pt idx="5">
                  <c:v>§ 36 Ošetřovatel</c:v>
                </c:pt>
                <c:pt idx="6">
                  <c:v>§ 39 Zubní instrumentářka</c:v>
                </c:pt>
                <c:pt idx="7">
                  <c:v>§ 18 Zdravotnický záchranář</c:v>
                </c:pt>
                <c:pt idx="8">
                  <c:v>§ 26 Odborný pracovník v laboratorních metodách a v přípravě léčivých přípravků</c:v>
                </c:pt>
                <c:pt idx="9">
                  <c:v>§ 8 Radiologický asistent</c:v>
                </c:pt>
                <c:pt idx="10">
                  <c:v>§ 16 Zubní technik</c:v>
                </c:pt>
                <c:pt idx="11">
                  <c:v>§ 40 Řidič zdravotnické dopravní služby</c:v>
                </c:pt>
                <c:pt idx="12">
                  <c:v>§ 22 Psycholog ve zdravotnictví</c:v>
                </c:pt>
                <c:pt idx="13">
                  <c:v>§ 35 Řidič vozidla zdravotnické záchranné služby</c:v>
                </c:pt>
                <c:pt idx="14">
                  <c:v>§ 17 Dentální hygienistka</c:v>
                </c:pt>
                <c:pt idx="15">
                  <c:v>§ 23 Logoped ve zdravotnictví</c:v>
                </c:pt>
                <c:pt idx="16">
                  <c:v>§ 37 Masér ve zdravotnictví, nevidomý a slabozraký masér ve zdravotnictví</c:v>
                </c:pt>
                <c:pt idx="17">
                  <c:v>§ 15 Nutriční terapeut</c:v>
                </c:pt>
                <c:pt idx="18">
                  <c:v>§ 11 Optometrista</c:v>
                </c:pt>
                <c:pt idx="19">
                  <c:v>§ 7 Ergoterapeut</c:v>
                </c:pt>
                <c:pt idx="20">
                  <c:v>§ 10 Zdravotně-sociální pracovník</c:v>
                </c:pt>
                <c:pt idx="21">
                  <c:v>§ 30 Laboratorní asistent</c:v>
                </c:pt>
                <c:pt idx="22">
                  <c:v>§ 27 Biomedicínský inženýr</c:v>
                </c:pt>
                <c:pt idx="23">
                  <c:v>§ 33 Asistent zubního technika</c:v>
                </c:pt>
                <c:pt idx="24">
                  <c:v>§ 21a Adiktolog</c:v>
                </c:pt>
                <c:pt idx="25">
                  <c:v>§ 28 Odborný pracovník v ochraně a podpoře veřejného zdraví</c:v>
                </c:pt>
                <c:pt idx="26">
                  <c:v>§ 13 Asistent ochrany a podpory veřejného zdraví</c:v>
                </c:pt>
                <c:pt idx="27">
                  <c:v>§ 25 Radiologický fyzik</c:v>
                </c:pt>
                <c:pt idx="28">
                  <c:v>§ 20 Biomedicínský technik</c:v>
                </c:pt>
                <c:pt idx="29">
                  <c:v>§ 12 Ortoptista</c:v>
                </c:pt>
                <c:pt idx="30">
                  <c:v>§ 14 Ortotik-protetik</c:v>
                </c:pt>
                <c:pt idx="31">
                  <c:v>§ 32 Nutriční asistent</c:v>
                </c:pt>
                <c:pt idx="32">
                  <c:v>§ 41 Autoptický laborant</c:v>
                </c:pt>
                <c:pt idx="33">
                  <c:v>§ 21 Radiologický technik</c:v>
                </c:pt>
                <c:pt idx="34">
                  <c:v>§ 23a Zrakový terapeut</c:v>
                </c:pt>
              </c:strCache>
            </c:strRef>
          </c:cat>
          <c:val>
            <c:numRef>
              <c:f>List1!$B$2:$B$36</c:f>
              <c:numCache>
                <c:formatCode>General</c:formatCode>
                <c:ptCount val="35"/>
                <c:pt idx="0">
                  <c:v>874</c:v>
                </c:pt>
                <c:pt idx="1">
                  <c:v>518</c:v>
                </c:pt>
                <c:pt idx="2">
                  <c:v>435</c:v>
                </c:pt>
                <c:pt idx="3">
                  <c:v>411</c:v>
                </c:pt>
                <c:pt idx="4">
                  <c:v>317</c:v>
                </c:pt>
                <c:pt idx="5">
                  <c:v>191</c:v>
                </c:pt>
                <c:pt idx="6">
                  <c:v>180</c:v>
                </c:pt>
                <c:pt idx="7">
                  <c:v>172</c:v>
                </c:pt>
                <c:pt idx="8">
                  <c:v>164</c:v>
                </c:pt>
                <c:pt idx="9">
                  <c:v>150</c:v>
                </c:pt>
                <c:pt idx="10">
                  <c:v>126</c:v>
                </c:pt>
                <c:pt idx="11">
                  <c:v>100</c:v>
                </c:pt>
                <c:pt idx="12">
                  <c:v>72</c:v>
                </c:pt>
                <c:pt idx="13">
                  <c:v>62</c:v>
                </c:pt>
                <c:pt idx="14">
                  <c:v>59</c:v>
                </c:pt>
                <c:pt idx="15">
                  <c:v>52</c:v>
                </c:pt>
                <c:pt idx="16">
                  <c:v>50</c:v>
                </c:pt>
                <c:pt idx="17">
                  <c:v>49</c:v>
                </c:pt>
                <c:pt idx="18">
                  <c:v>42</c:v>
                </c:pt>
                <c:pt idx="19">
                  <c:v>41</c:v>
                </c:pt>
                <c:pt idx="20">
                  <c:v>37</c:v>
                </c:pt>
                <c:pt idx="21">
                  <c:v>34</c:v>
                </c:pt>
                <c:pt idx="22">
                  <c:v>19</c:v>
                </c:pt>
                <c:pt idx="23">
                  <c:v>16</c:v>
                </c:pt>
                <c:pt idx="24">
                  <c:v>10</c:v>
                </c:pt>
                <c:pt idx="25">
                  <c:v>8</c:v>
                </c:pt>
                <c:pt idx="26">
                  <c:v>7</c:v>
                </c:pt>
                <c:pt idx="27">
                  <c:v>7</c:v>
                </c:pt>
                <c:pt idx="28">
                  <c:v>5</c:v>
                </c:pt>
                <c:pt idx="29">
                  <c:v>4</c:v>
                </c:pt>
                <c:pt idx="30">
                  <c:v>4</c:v>
                </c:pt>
                <c:pt idx="31">
                  <c:v>2</c:v>
                </c:pt>
                <c:pt idx="32">
                  <c:v>2</c:v>
                </c:pt>
                <c:pt idx="33">
                  <c:v>1</c:v>
                </c:pt>
                <c:pt idx="3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5491925027349E-2"/>
          <c:y val="2.8733097084892491E-2"/>
          <c:w val="0.69322079746689458"/>
          <c:h val="0.83918438300516462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6350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2.564406152739097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4472C4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4.114706235985942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4472C4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03.06.21</c:v>
                </c:pt>
                <c:pt idx="1">
                  <c:v>04.06.21</c:v>
                </c:pt>
                <c:pt idx="2">
                  <c:v>05.06.21</c:v>
                </c:pt>
                <c:pt idx="3">
                  <c:v>06.06.21</c:v>
                </c:pt>
                <c:pt idx="4">
                  <c:v>07.06.21</c:v>
                </c:pt>
                <c:pt idx="5">
                  <c:v>08.06.21</c:v>
                </c:pt>
                <c:pt idx="6">
                  <c:v>09.06.21</c:v>
                </c:pt>
                <c:pt idx="7">
                  <c:v>10.06.21</c:v>
                </c:pt>
                <c:pt idx="8">
                  <c:v>11.06.21</c:v>
                </c:pt>
                <c:pt idx="9">
                  <c:v>12.06.21</c:v>
                </c:pt>
                <c:pt idx="10">
                  <c:v>13.06.21</c:v>
                </c:pt>
                <c:pt idx="11">
                  <c:v>14.06.21</c:v>
                </c:pt>
                <c:pt idx="12">
                  <c:v>15.06.21</c:v>
                </c:pt>
                <c:pt idx="13">
                  <c:v>16.06.21</c:v>
                </c:pt>
                <c:pt idx="14">
                  <c:v>17.06.21</c:v>
                </c:pt>
                <c:pt idx="15">
                  <c:v>18.06.21</c:v>
                </c:pt>
                <c:pt idx="16">
                  <c:v>19.06.21</c:v>
                </c:pt>
                <c:pt idx="17">
                  <c:v>20.06.21</c:v>
                </c:pt>
                <c:pt idx="18">
                  <c:v>21.06.21</c:v>
                </c:pt>
                <c:pt idx="19">
                  <c:v>22.06.21</c:v>
                </c:pt>
                <c:pt idx="20">
                  <c:v>23.06.21</c:v>
                </c:pt>
                <c:pt idx="21">
                  <c:v>24.06.21</c:v>
                </c:pt>
                <c:pt idx="22">
                  <c:v>25.06.21</c:v>
                </c:pt>
                <c:pt idx="23">
                  <c:v>26.06.21</c:v>
                </c:pt>
                <c:pt idx="24">
                  <c:v>27.06.21</c:v>
                </c:pt>
                <c:pt idx="25">
                  <c:v>28.06.21</c:v>
                </c:pt>
                <c:pt idx="26">
                  <c:v>29.06.21</c:v>
                </c:pt>
                <c:pt idx="27">
                  <c:v>30.06.21</c:v>
                </c:pt>
                <c:pt idx="28">
                  <c:v>01.07.21</c:v>
                </c:pt>
                <c:pt idx="29">
                  <c:v>02.07.21</c:v>
                </c:pt>
                <c:pt idx="30">
                  <c:v>03.07.21</c:v>
                </c:pt>
                <c:pt idx="31">
                  <c:v>04.07.21</c:v>
                </c:pt>
                <c:pt idx="32">
                  <c:v>05.07.21</c:v>
                </c:pt>
                <c:pt idx="33">
                  <c:v>06.07.21</c:v>
                </c:pt>
                <c:pt idx="34">
                  <c:v>07.07.21</c:v>
                </c:pt>
                <c:pt idx="35">
                  <c:v>08.07.21</c:v>
                </c:pt>
                <c:pt idx="36">
                  <c:v>09.07.21</c:v>
                </c:pt>
                <c:pt idx="37">
                  <c:v>10.07.21</c:v>
                </c:pt>
                <c:pt idx="38">
                  <c:v>11.07.21</c:v>
                </c:pt>
                <c:pt idx="39">
                  <c:v>12.07.21</c:v>
                </c:pt>
                <c:pt idx="40">
                  <c:v>13.07.21</c:v>
                </c:pt>
                <c:pt idx="41">
                  <c:v>14.07.21</c:v>
                </c:pt>
                <c:pt idx="42">
                  <c:v>15.07.21</c:v>
                </c:pt>
                <c:pt idx="43">
                  <c:v>16.07.21</c:v>
                </c:pt>
                <c:pt idx="44">
                  <c:v>17.07.21</c:v>
                </c:pt>
                <c:pt idx="45">
                  <c:v>18.07.21</c:v>
                </c:pt>
                <c:pt idx="46">
                  <c:v>19.07.21</c:v>
                </c:pt>
                <c:pt idx="47">
                  <c:v>20.07.21</c:v>
                </c:pt>
                <c:pt idx="48">
                  <c:v>21.07.21</c:v>
                </c:pt>
                <c:pt idx="49">
                  <c:v>22.07.21</c:v>
                </c:pt>
                <c:pt idx="50">
                  <c:v>23.07.21</c:v>
                </c:pt>
                <c:pt idx="51">
                  <c:v>24.07.21</c:v>
                </c:pt>
                <c:pt idx="52">
                  <c:v>25.07.21</c:v>
                </c:pt>
                <c:pt idx="53">
                  <c:v>26.07.21</c:v>
                </c:pt>
                <c:pt idx="54">
                  <c:v>27.07.21</c:v>
                </c:pt>
                <c:pt idx="55">
                  <c:v>28.07.21</c:v>
                </c:pt>
                <c:pt idx="56">
                  <c:v>29.07.21</c:v>
                </c:pt>
                <c:pt idx="57">
                  <c:v>30.07.21</c:v>
                </c:pt>
                <c:pt idx="58">
                  <c:v>31.07.21</c:v>
                </c:pt>
                <c:pt idx="59">
                  <c:v>01.08.21</c:v>
                </c:pt>
                <c:pt idx="60">
                  <c:v>02.08.21</c:v>
                </c:pt>
                <c:pt idx="61">
                  <c:v>03.08.21</c:v>
                </c:pt>
                <c:pt idx="62">
                  <c:v>04.08.21</c:v>
                </c:pt>
                <c:pt idx="63">
                  <c:v>05.08.21</c:v>
                </c:pt>
                <c:pt idx="64">
                  <c:v>06.08.21</c:v>
                </c:pt>
                <c:pt idx="65">
                  <c:v>07.08.21</c:v>
                </c:pt>
                <c:pt idx="66">
                  <c:v>08.08.21</c:v>
                </c:pt>
                <c:pt idx="67">
                  <c:v>09.08.21</c:v>
                </c:pt>
                <c:pt idx="68">
                  <c:v>10.08.21</c:v>
                </c:pt>
                <c:pt idx="69">
                  <c:v>11.08.21</c:v>
                </c:pt>
                <c:pt idx="70">
                  <c:v>12.08.21</c:v>
                </c:pt>
                <c:pt idx="71">
                  <c:v>13.08.21</c:v>
                </c:pt>
                <c:pt idx="72">
                  <c:v>14.08.21</c:v>
                </c:pt>
                <c:pt idx="73">
                  <c:v>15.08.21</c:v>
                </c:pt>
                <c:pt idx="74">
                  <c:v>16.08.21</c:v>
                </c:pt>
                <c:pt idx="75">
                  <c:v>17.08.21</c:v>
                </c:pt>
                <c:pt idx="76">
                  <c:v>18.08.21</c:v>
                </c:pt>
                <c:pt idx="77">
                  <c:v>19.08.21</c:v>
                </c:pt>
                <c:pt idx="78">
                  <c:v>20.08.21</c:v>
                </c:pt>
                <c:pt idx="79">
                  <c:v>21.08.21</c:v>
                </c:pt>
                <c:pt idx="80">
                  <c:v>22.08.21</c:v>
                </c:pt>
                <c:pt idx="81">
                  <c:v>23.08.21</c:v>
                </c:pt>
                <c:pt idx="82">
                  <c:v>24.08.21</c:v>
                </c:pt>
                <c:pt idx="83">
                  <c:v>25.08.21</c:v>
                </c:pt>
                <c:pt idx="84">
                  <c:v>26.08.21</c:v>
                </c:pt>
                <c:pt idx="85">
                  <c:v>27.08.21</c:v>
                </c:pt>
                <c:pt idx="86">
                  <c:v>28.08.21</c:v>
                </c:pt>
                <c:pt idx="87">
                  <c:v>29.08.21</c:v>
                </c:pt>
                <c:pt idx="88">
                  <c:v>30.08.21</c:v>
                </c:pt>
                <c:pt idx="89">
                  <c:v>31.08.21</c:v>
                </c:pt>
                <c:pt idx="90">
                  <c:v>01.09.21</c:v>
                </c:pt>
                <c:pt idx="91">
                  <c:v>02.09.21</c:v>
                </c:pt>
                <c:pt idx="92">
                  <c:v>03.09.21</c:v>
                </c:pt>
                <c:pt idx="93">
                  <c:v>04.09.21</c:v>
                </c:pt>
                <c:pt idx="94">
                  <c:v>05.09.21</c:v>
                </c:pt>
                <c:pt idx="95">
                  <c:v>06.09.21</c:v>
                </c:pt>
                <c:pt idx="96">
                  <c:v>07.09.21</c:v>
                </c:pt>
                <c:pt idx="97">
                  <c:v>08.09.21</c:v>
                </c:pt>
                <c:pt idx="98">
                  <c:v>09.09.21</c:v>
                </c:pt>
                <c:pt idx="99">
                  <c:v>10.09.21</c:v>
                </c:pt>
                <c:pt idx="100">
                  <c:v>11.09.21</c:v>
                </c:pt>
                <c:pt idx="101">
                  <c:v>12.09.21</c:v>
                </c:pt>
                <c:pt idx="102">
                  <c:v>13.09.21</c:v>
                </c:pt>
                <c:pt idx="103">
                  <c:v>14.09.21</c:v>
                </c:pt>
                <c:pt idx="104">
                  <c:v>15.09.21</c:v>
                </c:pt>
                <c:pt idx="105">
                  <c:v>16.09.21</c:v>
                </c:pt>
                <c:pt idx="106">
                  <c:v>17.09.21</c:v>
                </c:pt>
                <c:pt idx="107">
                  <c:v>18.09.21</c:v>
                </c:pt>
                <c:pt idx="108">
                  <c:v>19.09.21</c:v>
                </c:pt>
                <c:pt idx="109">
                  <c:v>20.09.21</c:v>
                </c:pt>
                <c:pt idx="110">
                  <c:v>21.09.21</c:v>
                </c:pt>
                <c:pt idx="111">
                  <c:v>22.09.21</c:v>
                </c:pt>
                <c:pt idx="112">
                  <c:v>23.09.21</c:v>
                </c:pt>
                <c:pt idx="113">
                  <c:v>24.09.21</c:v>
                </c:pt>
                <c:pt idx="114">
                  <c:v>25.09.21</c:v>
                </c:pt>
                <c:pt idx="115">
                  <c:v>26.09.21</c:v>
                </c:pt>
                <c:pt idx="116">
                  <c:v>27.09.21</c:v>
                </c:pt>
                <c:pt idx="117">
                  <c:v>28.09.21</c:v>
                </c:pt>
                <c:pt idx="118">
                  <c:v>29.09.21</c:v>
                </c:pt>
                <c:pt idx="119">
                  <c:v>30.09.21</c:v>
                </c:pt>
                <c:pt idx="120">
                  <c:v>01.10.21</c:v>
                </c:pt>
                <c:pt idx="121">
                  <c:v>02.10.21</c:v>
                </c:pt>
                <c:pt idx="122">
                  <c:v>03.10.21</c:v>
                </c:pt>
                <c:pt idx="123">
                  <c:v>04.10.21</c:v>
                </c:pt>
                <c:pt idx="124">
                  <c:v>05.10.21</c:v>
                </c:pt>
                <c:pt idx="125">
                  <c:v>06.10.21</c:v>
                </c:pt>
                <c:pt idx="126">
                  <c:v>07.10.21</c:v>
                </c:pt>
                <c:pt idx="127">
                  <c:v>08.10.21</c:v>
                </c:pt>
                <c:pt idx="128">
                  <c:v>09.10.21</c:v>
                </c:pt>
                <c:pt idx="129">
                  <c:v>10.10.21</c:v>
                </c:pt>
                <c:pt idx="130">
                  <c:v>11.10.21</c:v>
                </c:pt>
                <c:pt idx="131">
                  <c:v>12.10.21</c:v>
                </c:pt>
                <c:pt idx="132">
                  <c:v>13.10.21</c:v>
                </c:pt>
                <c:pt idx="133">
                  <c:v>14.10.21</c:v>
                </c:pt>
                <c:pt idx="134">
                  <c:v>15.10.21</c:v>
                </c:pt>
                <c:pt idx="135">
                  <c:v>16.10.21</c:v>
                </c:pt>
                <c:pt idx="136">
                  <c:v>17.10.21</c:v>
                </c:pt>
                <c:pt idx="137">
                  <c:v>18.10.21</c:v>
                </c:pt>
                <c:pt idx="138">
                  <c:v>19.10.21</c:v>
                </c:pt>
                <c:pt idx="139">
                  <c:v>20.10.21</c:v>
                </c:pt>
                <c:pt idx="140">
                  <c:v>21.10.21</c:v>
                </c:pt>
                <c:pt idx="141">
                  <c:v>22.10.21</c:v>
                </c:pt>
                <c:pt idx="142">
                  <c:v>23.10.21</c:v>
                </c:pt>
                <c:pt idx="143">
                  <c:v>24.10.21</c:v>
                </c:pt>
                <c:pt idx="144">
                  <c:v>25.10.21</c:v>
                </c:pt>
                <c:pt idx="145">
                  <c:v>26.10.21</c:v>
                </c:pt>
                <c:pt idx="146">
                  <c:v>27.10.21</c:v>
                </c:pt>
                <c:pt idx="147">
                  <c:v>28.10.21</c:v>
                </c:pt>
                <c:pt idx="148">
                  <c:v>29.10.21</c:v>
                </c:pt>
                <c:pt idx="149">
                  <c:v>30.10.21</c:v>
                </c:pt>
                <c:pt idx="150">
                  <c:v>31.10.21</c:v>
                </c:pt>
                <c:pt idx="151">
                  <c:v>01.11.21</c:v>
                </c:pt>
                <c:pt idx="152">
                  <c:v>02.11.21</c:v>
                </c:pt>
                <c:pt idx="153">
                  <c:v>03.11.21</c:v>
                </c:pt>
                <c:pt idx="154">
                  <c:v>04.11.21</c:v>
                </c:pt>
                <c:pt idx="155">
                  <c:v>05.11.21</c:v>
                </c:pt>
                <c:pt idx="156">
                  <c:v>06.11.21</c:v>
                </c:pt>
                <c:pt idx="157">
                  <c:v>07.11.21</c:v>
                </c:pt>
                <c:pt idx="158">
                  <c:v>08.11.21</c:v>
                </c:pt>
                <c:pt idx="159">
                  <c:v>09.11.21</c:v>
                </c:pt>
                <c:pt idx="160">
                  <c:v>10.11.21</c:v>
                </c:pt>
                <c:pt idx="161">
                  <c:v>11.11.21</c:v>
                </c:pt>
                <c:pt idx="162">
                  <c:v>12.11.21</c:v>
                </c:pt>
                <c:pt idx="163">
                  <c:v>13.11.21</c:v>
                </c:pt>
                <c:pt idx="164">
                  <c:v>14.11.21</c:v>
                </c:pt>
                <c:pt idx="165">
                  <c:v>15.11.21</c:v>
                </c:pt>
                <c:pt idx="166">
                  <c:v>16.11.21</c:v>
                </c:pt>
                <c:pt idx="167">
                  <c:v>17.11.21</c:v>
                </c:pt>
                <c:pt idx="168">
                  <c:v>18.11.21</c:v>
                </c:pt>
                <c:pt idx="169">
                  <c:v>19.11.21</c:v>
                </c:pt>
                <c:pt idx="170">
                  <c:v>20.11.21</c:v>
                </c:pt>
                <c:pt idx="171">
                  <c:v>21.11.21</c:v>
                </c:pt>
                <c:pt idx="172">
                  <c:v>22.11.21</c:v>
                </c:pt>
                <c:pt idx="173">
                  <c:v>23.11.21</c:v>
                </c:pt>
                <c:pt idx="174">
                  <c:v>24.11.21</c:v>
                </c:pt>
                <c:pt idx="175">
                  <c:v>25.11.21</c:v>
                </c:pt>
                <c:pt idx="176">
                  <c:v>26.11.21</c:v>
                </c:pt>
                <c:pt idx="177">
                  <c:v>27.11.21</c:v>
                </c:pt>
                <c:pt idx="178">
                  <c:v>28.11.21</c:v>
                </c:pt>
                <c:pt idx="179">
                  <c:v>29.11.21</c:v>
                </c:pt>
                <c:pt idx="180">
                  <c:v>30.11.21</c:v>
                </c:pt>
                <c:pt idx="181">
                  <c:v>01.12.21</c:v>
                </c:pt>
                <c:pt idx="182">
                  <c:v>02.12.21</c:v>
                </c:pt>
              </c:strCache>
            </c:strRef>
          </c:cat>
          <c:val>
            <c:numRef>
              <c:f>List1!$B$2:$GB$2</c:f>
              <c:numCache>
                <c:formatCode>General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1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1</c:v>
                </c:pt>
                <c:pt idx="29">
                  <c:v>0</c:v>
                </c:pt>
                <c:pt idx="30">
                  <c:v>0</c:v>
                </c:pt>
                <c:pt idx="31">
                  <c:v>1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2</c:v>
                </c:pt>
                <c:pt idx="37">
                  <c:v>0</c:v>
                </c:pt>
                <c:pt idx="38">
                  <c:v>0</c:v>
                </c:pt>
                <c:pt idx="39">
                  <c:v>2</c:v>
                </c:pt>
                <c:pt idx="40">
                  <c:v>1</c:v>
                </c:pt>
                <c:pt idx="41">
                  <c:v>0</c:v>
                </c:pt>
                <c:pt idx="42">
                  <c:v>0</c:v>
                </c:pt>
                <c:pt idx="43">
                  <c:v>3</c:v>
                </c:pt>
                <c:pt idx="44">
                  <c:v>2</c:v>
                </c:pt>
                <c:pt idx="45">
                  <c:v>1</c:v>
                </c:pt>
                <c:pt idx="46">
                  <c:v>2</c:v>
                </c:pt>
                <c:pt idx="47">
                  <c:v>2</c:v>
                </c:pt>
                <c:pt idx="48">
                  <c:v>2</c:v>
                </c:pt>
                <c:pt idx="49">
                  <c:v>4</c:v>
                </c:pt>
                <c:pt idx="50">
                  <c:v>0</c:v>
                </c:pt>
                <c:pt idx="51">
                  <c:v>0</c:v>
                </c:pt>
                <c:pt idx="52">
                  <c:v>1</c:v>
                </c:pt>
                <c:pt idx="53">
                  <c:v>3</c:v>
                </c:pt>
                <c:pt idx="54">
                  <c:v>1</c:v>
                </c:pt>
                <c:pt idx="55">
                  <c:v>1</c:v>
                </c:pt>
                <c:pt idx="56">
                  <c:v>2</c:v>
                </c:pt>
                <c:pt idx="57">
                  <c:v>2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6</c:v>
                </c:pt>
                <c:pt idx="63">
                  <c:v>1</c:v>
                </c:pt>
                <c:pt idx="64">
                  <c:v>2</c:v>
                </c:pt>
                <c:pt idx="65">
                  <c:v>0</c:v>
                </c:pt>
                <c:pt idx="66">
                  <c:v>2</c:v>
                </c:pt>
                <c:pt idx="67">
                  <c:v>2</c:v>
                </c:pt>
                <c:pt idx="68">
                  <c:v>0</c:v>
                </c:pt>
                <c:pt idx="69">
                  <c:v>3</c:v>
                </c:pt>
                <c:pt idx="70">
                  <c:v>1</c:v>
                </c:pt>
                <c:pt idx="71">
                  <c:v>1</c:v>
                </c:pt>
                <c:pt idx="72">
                  <c:v>0</c:v>
                </c:pt>
                <c:pt idx="73">
                  <c:v>0</c:v>
                </c:pt>
                <c:pt idx="74">
                  <c:v>3</c:v>
                </c:pt>
                <c:pt idx="75">
                  <c:v>0</c:v>
                </c:pt>
                <c:pt idx="76">
                  <c:v>0</c:v>
                </c:pt>
                <c:pt idx="77">
                  <c:v>1</c:v>
                </c:pt>
                <c:pt idx="78">
                  <c:v>1</c:v>
                </c:pt>
                <c:pt idx="79">
                  <c:v>0</c:v>
                </c:pt>
                <c:pt idx="80">
                  <c:v>0</c:v>
                </c:pt>
                <c:pt idx="81">
                  <c:v>2</c:v>
                </c:pt>
                <c:pt idx="82">
                  <c:v>0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  <c:pt idx="87">
                  <c:v>0</c:v>
                </c:pt>
                <c:pt idx="88">
                  <c:v>0</c:v>
                </c:pt>
                <c:pt idx="89">
                  <c:v>4</c:v>
                </c:pt>
                <c:pt idx="90">
                  <c:v>4</c:v>
                </c:pt>
                <c:pt idx="91">
                  <c:v>1</c:v>
                </c:pt>
                <c:pt idx="92">
                  <c:v>1</c:v>
                </c:pt>
                <c:pt idx="93">
                  <c:v>3</c:v>
                </c:pt>
                <c:pt idx="94">
                  <c:v>1</c:v>
                </c:pt>
                <c:pt idx="95">
                  <c:v>0</c:v>
                </c:pt>
                <c:pt idx="96">
                  <c:v>2</c:v>
                </c:pt>
                <c:pt idx="97">
                  <c:v>0</c:v>
                </c:pt>
                <c:pt idx="98">
                  <c:v>0</c:v>
                </c:pt>
                <c:pt idx="99">
                  <c:v>3</c:v>
                </c:pt>
                <c:pt idx="100">
                  <c:v>3</c:v>
                </c:pt>
                <c:pt idx="101">
                  <c:v>0</c:v>
                </c:pt>
                <c:pt idx="102">
                  <c:v>4</c:v>
                </c:pt>
                <c:pt idx="103">
                  <c:v>2</c:v>
                </c:pt>
                <c:pt idx="104">
                  <c:v>0</c:v>
                </c:pt>
                <c:pt idx="105">
                  <c:v>1</c:v>
                </c:pt>
                <c:pt idx="106">
                  <c:v>2</c:v>
                </c:pt>
                <c:pt idx="107">
                  <c:v>1</c:v>
                </c:pt>
                <c:pt idx="108">
                  <c:v>1</c:v>
                </c:pt>
                <c:pt idx="109">
                  <c:v>0</c:v>
                </c:pt>
                <c:pt idx="110">
                  <c:v>3</c:v>
                </c:pt>
                <c:pt idx="111">
                  <c:v>3</c:v>
                </c:pt>
                <c:pt idx="112">
                  <c:v>2</c:v>
                </c:pt>
                <c:pt idx="113">
                  <c:v>3</c:v>
                </c:pt>
                <c:pt idx="114">
                  <c:v>0</c:v>
                </c:pt>
                <c:pt idx="115">
                  <c:v>2</c:v>
                </c:pt>
                <c:pt idx="116">
                  <c:v>6</c:v>
                </c:pt>
                <c:pt idx="117">
                  <c:v>4</c:v>
                </c:pt>
                <c:pt idx="118">
                  <c:v>3</c:v>
                </c:pt>
                <c:pt idx="119">
                  <c:v>9</c:v>
                </c:pt>
                <c:pt idx="120">
                  <c:v>2</c:v>
                </c:pt>
                <c:pt idx="121">
                  <c:v>5</c:v>
                </c:pt>
                <c:pt idx="122">
                  <c:v>1</c:v>
                </c:pt>
                <c:pt idx="123">
                  <c:v>0</c:v>
                </c:pt>
                <c:pt idx="124">
                  <c:v>2</c:v>
                </c:pt>
                <c:pt idx="125">
                  <c:v>5</c:v>
                </c:pt>
                <c:pt idx="126">
                  <c:v>6</c:v>
                </c:pt>
                <c:pt idx="127">
                  <c:v>6</c:v>
                </c:pt>
                <c:pt idx="128">
                  <c:v>1</c:v>
                </c:pt>
                <c:pt idx="129">
                  <c:v>1</c:v>
                </c:pt>
                <c:pt idx="130">
                  <c:v>3</c:v>
                </c:pt>
                <c:pt idx="131">
                  <c:v>10</c:v>
                </c:pt>
                <c:pt idx="132">
                  <c:v>7</c:v>
                </c:pt>
                <c:pt idx="133">
                  <c:v>7</c:v>
                </c:pt>
                <c:pt idx="134">
                  <c:v>6</c:v>
                </c:pt>
                <c:pt idx="135">
                  <c:v>5</c:v>
                </c:pt>
                <c:pt idx="136">
                  <c:v>8</c:v>
                </c:pt>
                <c:pt idx="137">
                  <c:v>17</c:v>
                </c:pt>
                <c:pt idx="138">
                  <c:v>16</c:v>
                </c:pt>
                <c:pt idx="139">
                  <c:v>13</c:v>
                </c:pt>
                <c:pt idx="140">
                  <c:v>13</c:v>
                </c:pt>
                <c:pt idx="141">
                  <c:v>16</c:v>
                </c:pt>
                <c:pt idx="142">
                  <c:v>12</c:v>
                </c:pt>
                <c:pt idx="143">
                  <c:v>12</c:v>
                </c:pt>
                <c:pt idx="144">
                  <c:v>29</c:v>
                </c:pt>
                <c:pt idx="145">
                  <c:v>20</c:v>
                </c:pt>
                <c:pt idx="146">
                  <c:v>23</c:v>
                </c:pt>
                <c:pt idx="147">
                  <c:v>22</c:v>
                </c:pt>
                <c:pt idx="148">
                  <c:v>36</c:v>
                </c:pt>
                <c:pt idx="149">
                  <c:v>21</c:v>
                </c:pt>
                <c:pt idx="150">
                  <c:v>18</c:v>
                </c:pt>
                <c:pt idx="151">
                  <c:v>55</c:v>
                </c:pt>
                <c:pt idx="152">
                  <c:v>37</c:v>
                </c:pt>
                <c:pt idx="153">
                  <c:v>38</c:v>
                </c:pt>
                <c:pt idx="154">
                  <c:v>27</c:v>
                </c:pt>
                <c:pt idx="155">
                  <c:v>39</c:v>
                </c:pt>
                <c:pt idx="156">
                  <c:v>20</c:v>
                </c:pt>
                <c:pt idx="157">
                  <c:v>18</c:v>
                </c:pt>
                <c:pt idx="158">
                  <c:v>52</c:v>
                </c:pt>
                <c:pt idx="159">
                  <c:v>46</c:v>
                </c:pt>
                <c:pt idx="160">
                  <c:v>48</c:v>
                </c:pt>
                <c:pt idx="161">
                  <c:v>49</c:v>
                </c:pt>
                <c:pt idx="162">
                  <c:v>41</c:v>
                </c:pt>
                <c:pt idx="163">
                  <c:v>49</c:v>
                </c:pt>
                <c:pt idx="164">
                  <c:v>22</c:v>
                </c:pt>
                <c:pt idx="165">
                  <c:v>62</c:v>
                </c:pt>
                <c:pt idx="166">
                  <c:v>57</c:v>
                </c:pt>
                <c:pt idx="167">
                  <c:v>44</c:v>
                </c:pt>
                <c:pt idx="168">
                  <c:v>52</c:v>
                </c:pt>
                <c:pt idx="169">
                  <c:v>78</c:v>
                </c:pt>
                <c:pt idx="170">
                  <c:v>43</c:v>
                </c:pt>
                <c:pt idx="171">
                  <c:v>31</c:v>
                </c:pt>
                <c:pt idx="172">
                  <c:v>60</c:v>
                </c:pt>
                <c:pt idx="173">
                  <c:v>71</c:v>
                </c:pt>
                <c:pt idx="174">
                  <c:v>41</c:v>
                </c:pt>
                <c:pt idx="175">
                  <c:v>65</c:v>
                </c:pt>
                <c:pt idx="176">
                  <c:v>53</c:v>
                </c:pt>
                <c:pt idx="177">
                  <c:v>33</c:v>
                </c:pt>
                <c:pt idx="178">
                  <c:v>40</c:v>
                </c:pt>
                <c:pt idx="179">
                  <c:v>57</c:v>
                </c:pt>
                <c:pt idx="180">
                  <c:v>41</c:v>
                </c:pt>
                <c:pt idx="181">
                  <c:v>51</c:v>
                </c:pt>
                <c:pt idx="182">
                  <c:v>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FD-43E4-BA1D-0B494D841FF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6350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0"/>
                  <c:y val="-2.3311865380608722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ED7D31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084775854416336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ED7D3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03.06.21</c:v>
                </c:pt>
                <c:pt idx="1">
                  <c:v>04.06.21</c:v>
                </c:pt>
                <c:pt idx="2">
                  <c:v>05.06.21</c:v>
                </c:pt>
                <c:pt idx="3">
                  <c:v>06.06.21</c:v>
                </c:pt>
                <c:pt idx="4">
                  <c:v>07.06.21</c:v>
                </c:pt>
                <c:pt idx="5">
                  <c:v>08.06.21</c:v>
                </c:pt>
                <c:pt idx="6">
                  <c:v>09.06.21</c:v>
                </c:pt>
                <c:pt idx="7">
                  <c:v>10.06.21</c:v>
                </c:pt>
                <c:pt idx="8">
                  <c:v>11.06.21</c:v>
                </c:pt>
                <c:pt idx="9">
                  <c:v>12.06.21</c:v>
                </c:pt>
                <c:pt idx="10">
                  <c:v>13.06.21</c:v>
                </c:pt>
                <c:pt idx="11">
                  <c:v>14.06.21</c:v>
                </c:pt>
                <c:pt idx="12">
                  <c:v>15.06.21</c:v>
                </c:pt>
                <c:pt idx="13">
                  <c:v>16.06.21</c:v>
                </c:pt>
                <c:pt idx="14">
                  <c:v>17.06.21</c:v>
                </c:pt>
                <c:pt idx="15">
                  <c:v>18.06.21</c:v>
                </c:pt>
                <c:pt idx="16">
                  <c:v>19.06.21</c:v>
                </c:pt>
                <c:pt idx="17">
                  <c:v>20.06.21</c:v>
                </c:pt>
                <c:pt idx="18">
                  <c:v>21.06.21</c:v>
                </c:pt>
                <c:pt idx="19">
                  <c:v>22.06.21</c:v>
                </c:pt>
                <c:pt idx="20">
                  <c:v>23.06.21</c:v>
                </c:pt>
                <c:pt idx="21">
                  <c:v>24.06.21</c:v>
                </c:pt>
                <c:pt idx="22">
                  <c:v>25.06.21</c:v>
                </c:pt>
                <c:pt idx="23">
                  <c:v>26.06.21</c:v>
                </c:pt>
                <c:pt idx="24">
                  <c:v>27.06.21</c:v>
                </c:pt>
                <c:pt idx="25">
                  <c:v>28.06.21</c:v>
                </c:pt>
                <c:pt idx="26">
                  <c:v>29.06.21</c:v>
                </c:pt>
                <c:pt idx="27">
                  <c:v>30.06.21</c:v>
                </c:pt>
                <c:pt idx="28">
                  <c:v>01.07.21</c:v>
                </c:pt>
                <c:pt idx="29">
                  <c:v>02.07.21</c:v>
                </c:pt>
                <c:pt idx="30">
                  <c:v>03.07.21</c:v>
                </c:pt>
                <c:pt idx="31">
                  <c:v>04.07.21</c:v>
                </c:pt>
                <c:pt idx="32">
                  <c:v>05.07.21</c:v>
                </c:pt>
                <c:pt idx="33">
                  <c:v>06.07.21</c:v>
                </c:pt>
                <c:pt idx="34">
                  <c:v>07.07.21</c:v>
                </c:pt>
                <c:pt idx="35">
                  <c:v>08.07.21</c:v>
                </c:pt>
                <c:pt idx="36">
                  <c:v>09.07.21</c:v>
                </c:pt>
                <c:pt idx="37">
                  <c:v>10.07.21</c:v>
                </c:pt>
                <c:pt idx="38">
                  <c:v>11.07.21</c:v>
                </c:pt>
                <c:pt idx="39">
                  <c:v>12.07.21</c:v>
                </c:pt>
                <c:pt idx="40">
                  <c:v>13.07.21</c:v>
                </c:pt>
                <c:pt idx="41">
                  <c:v>14.07.21</c:v>
                </c:pt>
                <c:pt idx="42">
                  <c:v>15.07.21</c:v>
                </c:pt>
                <c:pt idx="43">
                  <c:v>16.07.21</c:v>
                </c:pt>
                <c:pt idx="44">
                  <c:v>17.07.21</c:v>
                </c:pt>
                <c:pt idx="45">
                  <c:v>18.07.21</c:v>
                </c:pt>
                <c:pt idx="46">
                  <c:v>19.07.21</c:v>
                </c:pt>
                <c:pt idx="47">
                  <c:v>20.07.21</c:v>
                </c:pt>
                <c:pt idx="48">
                  <c:v>21.07.21</c:v>
                </c:pt>
                <c:pt idx="49">
                  <c:v>22.07.21</c:v>
                </c:pt>
                <c:pt idx="50">
                  <c:v>23.07.21</c:v>
                </c:pt>
                <c:pt idx="51">
                  <c:v>24.07.21</c:v>
                </c:pt>
                <c:pt idx="52">
                  <c:v>25.07.21</c:v>
                </c:pt>
                <c:pt idx="53">
                  <c:v>26.07.21</c:v>
                </c:pt>
                <c:pt idx="54">
                  <c:v>27.07.21</c:v>
                </c:pt>
                <c:pt idx="55">
                  <c:v>28.07.21</c:v>
                </c:pt>
                <c:pt idx="56">
                  <c:v>29.07.21</c:v>
                </c:pt>
                <c:pt idx="57">
                  <c:v>30.07.21</c:v>
                </c:pt>
                <c:pt idx="58">
                  <c:v>31.07.21</c:v>
                </c:pt>
                <c:pt idx="59">
                  <c:v>01.08.21</c:v>
                </c:pt>
                <c:pt idx="60">
                  <c:v>02.08.21</c:v>
                </c:pt>
                <c:pt idx="61">
                  <c:v>03.08.21</c:v>
                </c:pt>
                <c:pt idx="62">
                  <c:v>04.08.21</c:v>
                </c:pt>
                <c:pt idx="63">
                  <c:v>05.08.21</c:v>
                </c:pt>
                <c:pt idx="64">
                  <c:v>06.08.21</c:v>
                </c:pt>
                <c:pt idx="65">
                  <c:v>07.08.21</c:v>
                </c:pt>
                <c:pt idx="66">
                  <c:v>08.08.21</c:v>
                </c:pt>
                <c:pt idx="67">
                  <c:v>09.08.21</c:v>
                </c:pt>
                <c:pt idx="68">
                  <c:v>10.08.21</c:v>
                </c:pt>
                <c:pt idx="69">
                  <c:v>11.08.21</c:v>
                </c:pt>
                <c:pt idx="70">
                  <c:v>12.08.21</c:v>
                </c:pt>
                <c:pt idx="71">
                  <c:v>13.08.21</c:v>
                </c:pt>
                <c:pt idx="72">
                  <c:v>14.08.21</c:v>
                </c:pt>
                <c:pt idx="73">
                  <c:v>15.08.21</c:v>
                </c:pt>
                <c:pt idx="74">
                  <c:v>16.08.21</c:v>
                </c:pt>
                <c:pt idx="75">
                  <c:v>17.08.21</c:v>
                </c:pt>
                <c:pt idx="76">
                  <c:v>18.08.21</c:v>
                </c:pt>
                <c:pt idx="77">
                  <c:v>19.08.21</c:v>
                </c:pt>
                <c:pt idx="78">
                  <c:v>20.08.21</c:v>
                </c:pt>
                <c:pt idx="79">
                  <c:v>21.08.21</c:v>
                </c:pt>
                <c:pt idx="80">
                  <c:v>22.08.21</c:v>
                </c:pt>
                <c:pt idx="81">
                  <c:v>23.08.21</c:v>
                </c:pt>
                <c:pt idx="82">
                  <c:v>24.08.21</c:v>
                </c:pt>
                <c:pt idx="83">
                  <c:v>25.08.21</c:v>
                </c:pt>
                <c:pt idx="84">
                  <c:v>26.08.21</c:v>
                </c:pt>
                <c:pt idx="85">
                  <c:v>27.08.21</c:v>
                </c:pt>
                <c:pt idx="86">
                  <c:v>28.08.21</c:v>
                </c:pt>
                <c:pt idx="87">
                  <c:v>29.08.21</c:v>
                </c:pt>
                <c:pt idx="88">
                  <c:v>30.08.21</c:v>
                </c:pt>
                <c:pt idx="89">
                  <c:v>31.08.21</c:v>
                </c:pt>
                <c:pt idx="90">
                  <c:v>01.09.21</c:v>
                </c:pt>
                <c:pt idx="91">
                  <c:v>02.09.21</c:v>
                </c:pt>
                <c:pt idx="92">
                  <c:v>03.09.21</c:v>
                </c:pt>
                <c:pt idx="93">
                  <c:v>04.09.21</c:v>
                </c:pt>
                <c:pt idx="94">
                  <c:v>05.09.21</c:v>
                </c:pt>
                <c:pt idx="95">
                  <c:v>06.09.21</c:v>
                </c:pt>
                <c:pt idx="96">
                  <c:v>07.09.21</c:v>
                </c:pt>
                <c:pt idx="97">
                  <c:v>08.09.21</c:v>
                </c:pt>
                <c:pt idx="98">
                  <c:v>09.09.21</c:v>
                </c:pt>
                <c:pt idx="99">
                  <c:v>10.09.21</c:v>
                </c:pt>
                <c:pt idx="100">
                  <c:v>11.09.21</c:v>
                </c:pt>
                <c:pt idx="101">
                  <c:v>12.09.21</c:v>
                </c:pt>
                <c:pt idx="102">
                  <c:v>13.09.21</c:v>
                </c:pt>
                <c:pt idx="103">
                  <c:v>14.09.21</c:v>
                </c:pt>
                <c:pt idx="104">
                  <c:v>15.09.21</c:v>
                </c:pt>
                <c:pt idx="105">
                  <c:v>16.09.21</c:v>
                </c:pt>
                <c:pt idx="106">
                  <c:v>17.09.21</c:v>
                </c:pt>
                <c:pt idx="107">
                  <c:v>18.09.21</c:v>
                </c:pt>
                <c:pt idx="108">
                  <c:v>19.09.21</c:v>
                </c:pt>
                <c:pt idx="109">
                  <c:v>20.09.21</c:v>
                </c:pt>
                <c:pt idx="110">
                  <c:v>21.09.21</c:v>
                </c:pt>
                <c:pt idx="111">
                  <c:v>22.09.21</c:v>
                </c:pt>
                <c:pt idx="112">
                  <c:v>23.09.21</c:v>
                </c:pt>
                <c:pt idx="113">
                  <c:v>24.09.21</c:v>
                </c:pt>
                <c:pt idx="114">
                  <c:v>25.09.21</c:v>
                </c:pt>
                <c:pt idx="115">
                  <c:v>26.09.21</c:v>
                </c:pt>
                <c:pt idx="116">
                  <c:v>27.09.21</c:v>
                </c:pt>
                <c:pt idx="117">
                  <c:v>28.09.21</c:v>
                </c:pt>
                <c:pt idx="118">
                  <c:v>29.09.21</c:v>
                </c:pt>
                <c:pt idx="119">
                  <c:v>30.09.21</c:v>
                </c:pt>
                <c:pt idx="120">
                  <c:v>01.10.21</c:v>
                </c:pt>
                <c:pt idx="121">
                  <c:v>02.10.21</c:v>
                </c:pt>
                <c:pt idx="122">
                  <c:v>03.10.21</c:v>
                </c:pt>
                <c:pt idx="123">
                  <c:v>04.10.21</c:v>
                </c:pt>
                <c:pt idx="124">
                  <c:v>05.10.21</c:v>
                </c:pt>
                <c:pt idx="125">
                  <c:v>06.10.21</c:v>
                </c:pt>
                <c:pt idx="126">
                  <c:v>07.10.21</c:v>
                </c:pt>
                <c:pt idx="127">
                  <c:v>08.10.21</c:v>
                </c:pt>
                <c:pt idx="128">
                  <c:v>09.10.21</c:v>
                </c:pt>
                <c:pt idx="129">
                  <c:v>10.10.21</c:v>
                </c:pt>
                <c:pt idx="130">
                  <c:v>11.10.21</c:v>
                </c:pt>
                <c:pt idx="131">
                  <c:v>12.10.21</c:v>
                </c:pt>
                <c:pt idx="132">
                  <c:v>13.10.21</c:v>
                </c:pt>
                <c:pt idx="133">
                  <c:v>14.10.21</c:v>
                </c:pt>
                <c:pt idx="134">
                  <c:v>15.10.21</c:v>
                </c:pt>
                <c:pt idx="135">
                  <c:v>16.10.21</c:v>
                </c:pt>
                <c:pt idx="136">
                  <c:v>17.10.21</c:v>
                </c:pt>
                <c:pt idx="137">
                  <c:v>18.10.21</c:v>
                </c:pt>
                <c:pt idx="138">
                  <c:v>19.10.21</c:v>
                </c:pt>
                <c:pt idx="139">
                  <c:v>20.10.21</c:v>
                </c:pt>
                <c:pt idx="140">
                  <c:v>21.10.21</c:v>
                </c:pt>
                <c:pt idx="141">
                  <c:v>22.10.21</c:v>
                </c:pt>
                <c:pt idx="142">
                  <c:v>23.10.21</c:v>
                </c:pt>
                <c:pt idx="143">
                  <c:v>24.10.21</c:v>
                </c:pt>
                <c:pt idx="144">
                  <c:v>25.10.21</c:v>
                </c:pt>
                <c:pt idx="145">
                  <c:v>26.10.21</c:v>
                </c:pt>
                <c:pt idx="146">
                  <c:v>27.10.21</c:v>
                </c:pt>
                <c:pt idx="147">
                  <c:v>28.10.21</c:v>
                </c:pt>
                <c:pt idx="148">
                  <c:v>29.10.21</c:v>
                </c:pt>
                <c:pt idx="149">
                  <c:v>30.10.21</c:v>
                </c:pt>
                <c:pt idx="150">
                  <c:v>31.10.21</c:v>
                </c:pt>
                <c:pt idx="151">
                  <c:v>01.11.21</c:v>
                </c:pt>
                <c:pt idx="152">
                  <c:v>02.11.21</c:v>
                </c:pt>
                <c:pt idx="153">
                  <c:v>03.11.21</c:v>
                </c:pt>
                <c:pt idx="154">
                  <c:v>04.11.21</c:v>
                </c:pt>
                <c:pt idx="155">
                  <c:v>05.11.21</c:v>
                </c:pt>
                <c:pt idx="156">
                  <c:v>06.11.21</c:v>
                </c:pt>
                <c:pt idx="157">
                  <c:v>07.11.21</c:v>
                </c:pt>
                <c:pt idx="158">
                  <c:v>08.11.21</c:v>
                </c:pt>
                <c:pt idx="159">
                  <c:v>09.11.21</c:v>
                </c:pt>
                <c:pt idx="160">
                  <c:v>10.11.21</c:v>
                </c:pt>
                <c:pt idx="161">
                  <c:v>11.11.21</c:v>
                </c:pt>
                <c:pt idx="162">
                  <c:v>12.11.21</c:v>
                </c:pt>
                <c:pt idx="163">
                  <c:v>13.11.21</c:v>
                </c:pt>
                <c:pt idx="164">
                  <c:v>14.11.21</c:v>
                </c:pt>
                <c:pt idx="165">
                  <c:v>15.11.21</c:v>
                </c:pt>
                <c:pt idx="166">
                  <c:v>16.11.21</c:v>
                </c:pt>
                <c:pt idx="167">
                  <c:v>17.11.21</c:v>
                </c:pt>
                <c:pt idx="168">
                  <c:v>18.11.21</c:v>
                </c:pt>
                <c:pt idx="169">
                  <c:v>19.11.21</c:v>
                </c:pt>
                <c:pt idx="170">
                  <c:v>20.11.21</c:v>
                </c:pt>
                <c:pt idx="171">
                  <c:v>21.11.21</c:v>
                </c:pt>
                <c:pt idx="172">
                  <c:v>22.11.21</c:v>
                </c:pt>
                <c:pt idx="173">
                  <c:v>23.11.21</c:v>
                </c:pt>
                <c:pt idx="174">
                  <c:v>24.11.21</c:v>
                </c:pt>
                <c:pt idx="175">
                  <c:v>25.11.21</c:v>
                </c:pt>
                <c:pt idx="176">
                  <c:v>26.11.21</c:v>
                </c:pt>
                <c:pt idx="177">
                  <c:v>27.11.21</c:v>
                </c:pt>
                <c:pt idx="178">
                  <c:v>28.11.21</c:v>
                </c:pt>
                <c:pt idx="179">
                  <c:v>29.11.21</c:v>
                </c:pt>
                <c:pt idx="180">
                  <c:v>30.11.21</c:v>
                </c:pt>
                <c:pt idx="181">
                  <c:v>01.12.21</c:v>
                </c:pt>
                <c:pt idx="182">
                  <c:v>02.12.21</c:v>
                </c:pt>
              </c:strCache>
            </c:strRef>
          </c:cat>
          <c:val>
            <c:numRef>
              <c:f>List1!$B$3:$GB$3</c:f>
              <c:numCache>
                <c:formatCode>General</c:formatCode>
                <c:ptCount val="183"/>
                <c:pt idx="0">
                  <c:v>5</c:v>
                </c:pt>
                <c:pt idx="1">
                  <c:v>1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0</c:v>
                </c:pt>
                <c:pt idx="9">
                  <c:v>1</c:v>
                </c:pt>
                <c:pt idx="10">
                  <c:v>2</c:v>
                </c:pt>
                <c:pt idx="11">
                  <c:v>1</c:v>
                </c:pt>
                <c:pt idx="12">
                  <c:v>0</c:v>
                </c:pt>
                <c:pt idx="13">
                  <c:v>0</c:v>
                </c:pt>
                <c:pt idx="14">
                  <c:v>2</c:v>
                </c:pt>
                <c:pt idx="15">
                  <c:v>3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1</c:v>
                </c:pt>
                <c:pt idx="26">
                  <c:v>2</c:v>
                </c:pt>
                <c:pt idx="27">
                  <c:v>0</c:v>
                </c:pt>
                <c:pt idx="28">
                  <c:v>1</c:v>
                </c:pt>
                <c:pt idx="29">
                  <c:v>2</c:v>
                </c:pt>
                <c:pt idx="30">
                  <c:v>0</c:v>
                </c:pt>
                <c:pt idx="31">
                  <c:v>1</c:v>
                </c:pt>
                <c:pt idx="32">
                  <c:v>4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2</c:v>
                </c:pt>
                <c:pt idx="40">
                  <c:v>3</c:v>
                </c:pt>
                <c:pt idx="41">
                  <c:v>2</c:v>
                </c:pt>
                <c:pt idx="42">
                  <c:v>2</c:v>
                </c:pt>
                <c:pt idx="43">
                  <c:v>0</c:v>
                </c:pt>
                <c:pt idx="44">
                  <c:v>0</c:v>
                </c:pt>
                <c:pt idx="45">
                  <c:v>1</c:v>
                </c:pt>
                <c:pt idx="46">
                  <c:v>4</c:v>
                </c:pt>
                <c:pt idx="47">
                  <c:v>0</c:v>
                </c:pt>
                <c:pt idx="48">
                  <c:v>4</c:v>
                </c:pt>
                <c:pt idx="49">
                  <c:v>0</c:v>
                </c:pt>
                <c:pt idx="50">
                  <c:v>4</c:v>
                </c:pt>
                <c:pt idx="51">
                  <c:v>1</c:v>
                </c:pt>
                <c:pt idx="52">
                  <c:v>1</c:v>
                </c:pt>
                <c:pt idx="53">
                  <c:v>3</c:v>
                </c:pt>
                <c:pt idx="54">
                  <c:v>0</c:v>
                </c:pt>
                <c:pt idx="55">
                  <c:v>0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0</c:v>
                </c:pt>
                <c:pt idx="60">
                  <c:v>0</c:v>
                </c:pt>
                <c:pt idx="61">
                  <c:v>2</c:v>
                </c:pt>
                <c:pt idx="62">
                  <c:v>1</c:v>
                </c:pt>
                <c:pt idx="63">
                  <c:v>0</c:v>
                </c:pt>
                <c:pt idx="64">
                  <c:v>1</c:v>
                </c:pt>
                <c:pt idx="65">
                  <c:v>0</c:v>
                </c:pt>
                <c:pt idx="66">
                  <c:v>0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1</c:v>
                </c:pt>
                <c:pt idx="71">
                  <c:v>2</c:v>
                </c:pt>
                <c:pt idx="72">
                  <c:v>3</c:v>
                </c:pt>
                <c:pt idx="73">
                  <c:v>1</c:v>
                </c:pt>
                <c:pt idx="74">
                  <c:v>3</c:v>
                </c:pt>
                <c:pt idx="75">
                  <c:v>3</c:v>
                </c:pt>
                <c:pt idx="76">
                  <c:v>2</c:v>
                </c:pt>
                <c:pt idx="77">
                  <c:v>1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4</c:v>
                </c:pt>
                <c:pt idx="82">
                  <c:v>2</c:v>
                </c:pt>
                <c:pt idx="83">
                  <c:v>0</c:v>
                </c:pt>
                <c:pt idx="84">
                  <c:v>2</c:v>
                </c:pt>
                <c:pt idx="85">
                  <c:v>1</c:v>
                </c:pt>
                <c:pt idx="86">
                  <c:v>2</c:v>
                </c:pt>
                <c:pt idx="87">
                  <c:v>1</c:v>
                </c:pt>
                <c:pt idx="88">
                  <c:v>0</c:v>
                </c:pt>
                <c:pt idx="89">
                  <c:v>2</c:v>
                </c:pt>
                <c:pt idx="90">
                  <c:v>1</c:v>
                </c:pt>
                <c:pt idx="91">
                  <c:v>5</c:v>
                </c:pt>
                <c:pt idx="92">
                  <c:v>6</c:v>
                </c:pt>
                <c:pt idx="93">
                  <c:v>1</c:v>
                </c:pt>
                <c:pt idx="94">
                  <c:v>0</c:v>
                </c:pt>
                <c:pt idx="95">
                  <c:v>2</c:v>
                </c:pt>
                <c:pt idx="96">
                  <c:v>6</c:v>
                </c:pt>
                <c:pt idx="97">
                  <c:v>1</c:v>
                </c:pt>
                <c:pt idx="98">
                  <c:v>4</c:v>
                </c:pt>
                <c:pt idx="99">
                  <c:v>0</c:v>
                </c:pt>
                <c:pt idx="100">
                  <c:v>1</c:v>
                </c:pt>
                <c:pt idx="101">
                  <c:v>2</c:v>
                </c:pt>
                <c:pt idx="102">
                  <c:v>3</c:v>
                </c:pt>
                <c:pt idx="103">
                  <c:v>4</c:v>
                </c:pt>
                <c:pt idx="104">
                  <c:v>3</c:v>
                </c:pt>
                <c:pt idx="105">
                  <c:v>7</c:v>
                </c:pt>
                <c:pt idx="106">
                  <c:v>5</c:v>
                </c:pt>
                <c:pt idx="107">
                  <c:v>2</c:v>
                </c:pt>
                <c:pt idx="108">
                  <c:v>2</c:v>
                </c:pt>
                <c:pt idx="109">
                  <c:v>10</c:v>
                </c:pt>
                <c:pt idx="110">
                  <c:v>7</c:v>
                </c:pt>
                <c:pt idx="111">
                  <c:v>6</c:v>
                </c:pt>
                <c:pt idx="112">
                  <c:v>5</c:v>
                </c:pt>
                <c:pt idx="113">
                  <c:v>7</c:v>
                </c:pt>
                <c:pt idx="114">
                  <c:v>7</c:v>
                </c:pt>
                <c:pt idx="115">
                  <c:v>6</c:v>
                </c:pt>
                <c:pt idx="116">
                  <c:v>5</c:v>
                </c:pt>
                <c:pt idx="117">
                  <c:v>7</c:v>
                </c:pt>
                <c:pt idx="118">
                  <c:v>12</c:v>
                </c:pt>
                <c:pt idx="119">
                  <c:v>15</c:v>
                </c:pt>
                <c:pt idx="120">
                  <c:v>7</c:v>
                </c:pt>
                <c:pt idx="121">
                  <c:v>5</c:v>
                </c:pt>
                <c:pt idx="122">
                  <c:v>8</c:v>
                </c:pt>
                <c:pt idx="123">
                  <c:v>10</c:v>
                </c:pt>
                <c:pt idx="124">
                  <c:v>12</c:v>
                </c:pt>
                <c:pt idx="125">
                  <c:v>9</c:v>
                </c:pt>
                <c:pt idx="126">
                  <c:v>8</c:v>
                </c:pt>
                <c:pt idx="127">
                  <c:v>9</c:v>
                </c:pt>
                <c:pt idx="128">
                  <c:v>5</c:v>
                </c:pt>
                <c:pt idx="129">
                  <c:v>4</c:v>
                </c:pt>
                <c:pt idx="130">
                  <c:v>17</c:v>
                </c:pt>
                <c:pt idx="131">
                  <c:v>17</c:v>
                </c:pt>
                <c:pt idx="132">
                  <c:v>20</c:v>
                </c:pt>
                <c:pt idx="133">
                  <c:v>19</c:v>
                </c:pt>
                <c:pt idx="134">
                  <c:v>17</c:v>
                </c:pt>
                <c:pt idx="135">
                  <c:v>10</c:v>
                </c:pt>
                <c:pt idx="136">
                  <c:v>10</c:v>
                </c:pt>
                <c:pt idx="137">
                  <c:v>32</c:v>
                </c:pt>
                <c:pt idx="138">
                  <c:v>25</c:v>
                </c:pt>
                <c:pt idx="139">
                  <c:v>24</c:v>
                </c:pt>
                <c:pt idx="140">
                  <c:v>48</c:v>
                </c:pt>
                <c:pt idx="141">
                  <c:v>38</c:v>
                </c:pt>
                <c:pt idx="142">
                  <c:v>31</c:v>
                </c:pt>
                <c:pt idx="143">
                  <c:v>11</c:v>
                </c:pt>
                <c:pt idx="144">
                  <c:v>59</c:v>
                </c:pt>
                <c:pt idx="145">
                  <c:v>63</c:v>
                </c:pt>
                <c:pt idx="146">
                  <c:v>71</c:v>
                </c:pt>
                <c:pt idx="147">
                  <c:v>31</c:v>
                </c:pt>
                <c:pt idx="148">
                  <c:v>75</c:v>
                </c:pt>
                <c:pt idx="149">
                  <c:v>56</c:v>
                </c:pt>
                <c:pt idx="150">
                  <c:v>37</c:v>
                </c:pt>
                <c:pt idx="151">
                  <c:v>103</c:v>
                </c:pt>
                <c:pt idx="152">
                  <c:v>100</c:v>
                </c:pt>
                <c:pt idx="153">
                  <c:v>108</c:v>
                </c:pt>
                <c:pt idx="154">
                  <c:v>95</c:v>
                </c:pt>
                <c:pt idx="155">
                  <c:v>107</c:v>
                </c:pt>
                <c:pt idx="156">
                  <c:v>78</c:v>
                </c:pt>
                <c:pt idx="157">
                  <c:v>25</c:v>
                </c:pt>
                <c:pt idx="158">
                  <c:v>120</c:v>
                </c:pt>
                <c:pt idx="159">
                  <c:v>132</c:v>
                </c:pt>
                <c:pt idx="160">
                  <c:v>163</c:v>
                </c:pt>
                <c:pt idx="161">
                  <c:v>90</c:v>
                </c:pt>
                <c:pt idx="162">
                  <c:v>151</c:v>
                </c:pt>
                <c:pt idx="163">
                  <c:v>86</c:v>
                </c:pt>
                <c:pt idx="164">
                  <c:v>52</c:v>
                </c:pt>
                <c:pt idx="165">
                  <c:v>147</c:v>
                </c:pt>
                <c:pt idx="166">
                  <c:v>214</c:v>
                </c:pt>
                <c:pt idx="167">
                  <c:v>105</c:v>
                </c:pt>
                <c:pt idx="168">
                  <c:v>152</c:v>
                </c:pt>
                <c:pt idx="169">
                  <c:v>212</c:v>
                </c:pt>
                <c:pt idx="170">
                  <c:v>144</c:v>
                </c:pt>
                <c:pt idx="171">
                  <c:v>79</c:v>
                </c:pt>
                <c:pt idx="172">
                  <c:v>181</c:v>
                </c:pt>
                <c:pt idx="173">
                  <c:v>238</c:v>
                </c:pt>
                <c:pt idx="174">
                  <c:v>129</c:v>
                </c:pt>
                <c:pt idx="175">
                  <c:v>198</c:v>
                </c:pt>
                <c:pt idx="176">
                  <c:v>177</c:v>
                </c:pt>
                <c:pt idx="177">
                  <c:v>98</c:v>
                </c:pt>
                <c:pt idx="178">
                  <c:v>74</c:v>
                </c:pt>
                <c:pt idx="179">
                  <c:v>188</c:v>
                </c:pt>
                <c:pt idx="180">
                  <c:v>148</c:v>
                </c:pt>
                <c:pt idx="181">
                  <c:v>145</c:v>
                </c:pt>
                <c:pt idx="182">
                  <c:v>1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8FD-43E4-BA1D-0B494D841FF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3.550821127385838E-3"/>
                  <c:y val="3.263798827201787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A6A6A6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03.06.21</c:v>
                </c:pt>
                <c:pt idx="1">
                  <c:v>04.06.21</c:v>
                </c:pt>
                <c:pt idx="2">
                  <c:v>05.06.21</c:v>
                </c:pt>
                <c:pt idx="3">
                  <c:v>06.06.21</c:v>
                </c:pt>
                <c:pt idx="4">
                  <c:v>07.06.21</c:v>
                </c:pt>
                <c:pt idx="5">
                  <c:v>08.06.21</c:v>
                </c:pt>
                <c:pt idx="6">
                  <c:v>09.06.21</c:v>
                </c:pt>
                <c:pt idx="7">
                  <c:v>10.06.21</c:v>
                </c:pt>
                <c:pt idx="8">
                  <c:v>11.06.21</c:v>
                </c:pt>
                <c:pt idx="9">
                  <c:v>12.06.21</c:v>
                </c:pt>
                <c:pt idx="10">
                  <c:v>13.06.21</c:v>
                </c:pt>
                <c:pt idx="11">
                  <c:v>14.06.21</c:v>
                </c:pt>
                <c:pt idx="12">
                  <c:v>15.06.21</c:v>
                </c:pt>
                <c:pt idx="13">
                  <c:v>16.06.21</c:v>
                </c:pt>
                <c:pt idx="14">
                  <c:v>17.06.21</c:v>
                </c:pt>
                <c:pt idx="15">
                  <c:v>18.06.21</c:v>
                </c:pt>
                <c:pt idx="16">
                  <c:v>19.06.21</c:v>
                </c:pt>
                <c:pt idx="17">
                  <c:v>20.06.21</c:v>
                </c:pt>
                <c:pt idx="18">
                  <c:v>21.06.21</c:v>
                </c:pt>
                <c:pt idx="19">
                  <c:v>22.06.21</c:v>
                </c:pt>
                <c:pt idx="20">
                  <c:v>23.06.21</c:v>
                </c:pt>
                <c:pt idx="21">
                  <c:v>24.06.21</c:v>
                </c:pt>
                <c:pt idx="22">
                  <c:v>25.06.21</c:v>
                </c:pt>
                <c:pt idx="23">
                  <c:v>26.06.21</c:v>
                </c:pt>
                <c:pt idx="24">
                  <c:v>27.06.21</c:v>
                </c:pt>
                <c:pt idx="25">
                  <c:v>28.06.21</c:v>
                </c:pt>
                <c:pt idx="26">
                  <c:v>29.06.21</c:v>
                </c:pt>
                <c:pt idx="27">
                  <c:v>30.06.21</c:v>
                </c:pt>
                <c:pt idx="28">
                  <c:v>01.07.21</c:v>
                </c:pt>
                <c:pt idx="29">
                  <c:v>02.07.21</c:v>
                </c:pt>
                <c:pt idx="30">
                  <c:v>03.07.21</c:v>
                </c:pt>
                <c:pt idx="31">
                  <c:v>04.07.21</c:v>
                </c:pt>
                <c:pt idx="32">
                  <c:v>05.07.21</c:v>
                </c:pt>
                <c:pt idx="33">
                  <c:v>06.07.21</c:v>
                </c:pt>
                <c:pt idx="34">
                  <c:v>07.07.21</c:v>
                </c:pt>
                <c:pt idx="35">
                  <c:v>08.07.21</c:v>
                </c:pt>
                <c:pt idx="36">
                  <c:v>09.07.21</c:v>
                </c:pt>
                <c:pt idx="37">
                  <c:v>10.07.21</c:v>
                </c:pt>
                <c:pt idx="38">
                  <c:v>11.07.21</c:v>
                </c:pt>
                <c:pt idx="39">
                  <c:v>12.07.21</c:v>
                </c:pt>
                <c:pt idx="40">
                  <c:v>13.07.21</c:v>
                </c:pt>
                <c:pt idx="41">
                  <c:v>14.07.21</c:v>
                </c:pt>
                <c:pt idx="42">
                  <c:v>15.07.21</c:v>
                </c:pt>
                <c:pt idx="43">
                  <c:v>16.07.21</c:v>
                </c:pt>
                <c:pt idx="44">
                  <c:v>17.07.21</c:v>
                </c:pt>
                <c:pt idx="45">
                  <c:v>18.07.21</c:v>
                </c:pt>
                <c:pt idx="46">
                  <c:v>19.07.21</c:v>
                </c:pt>
                <c:pt idx="47">
                  <c:v>20.07.21</c:v>
                </c:pt>
                <c:pt idx="48">
                  <c:v>21.07.21</c:v>
                </c:pt>
                <c:pt idx="49">
                  <c:v>22.07.21</c:v>
                </c:pt>
                <c:pt idx="50">
                  <c:v>23.07.21</c:v>
                </c:pt>
                <c:pt idx="51">
                  <c:v>24.07.21</c:v>
                </c:pt>
                <c:pt idx="52">
                  <c:v>25.07.21</c:v>
                </c:pt>
                <c:pt idx="53">
                  <c:v>26.07.21</c:v>
                </c:pt>
                <c:pt idx="54">
                  <c:v>27.07.21</c:v>
                </c:pt>
                <c:pt idx="55">
                  <c:v>28.07.21</c:v>
                </c:pt>
                <c:pt idx="56">
                  <c:v>29.07.21</c:v>
                </c:pt>
                <c:pt idx="57">
                  <c:v>30.07.21</c:v>
                </c:pt>
                <c:pt idx="58">
                  <c:v>31.07.21</c:v>
                </c:pt>
                <c:pt idx="59">
                  <c:v>01.08.21</c:v>
                </c:pt>
                <c:pt idx="60">
                  <c:v>02.08.21</c:v>
                </c:pt>
                <c:pt idx="61">
                  <c:v>03.08.21</c:v>
                </c:pt>
                <c:pt idx="62">
                  <c:v>04.08.21</c:v>
                </c:pt>
                <c:pt idx="63">
                  <c:v>05.08.21</c:v>
                </c:pt>
                <c:pt idx="64">
                  <c:v>06.08.21</c:v>
                </c:pt>
                <c:pt idx="65">
                  <c:v>07.08.21</c:v>
                </c:pt>
                <c:pt idx="66">
                  <c:v>08.08.21</c:v>
                </c:pt>
                <c:pt idx="67">
                  <c:v>09.08.21</c:v>
                </c:pt>
                <c:pt idx="68">
                  <c:v>10.08.21</c:v>
                </c:pt>
                <c:pt idx="69">
                  <c:v>11.08.21</c:v>
                </c:pt>
                <c:pt idx="70">
                  <c:v>12.08.21</c:v>
                </c:pt>
                <c:pt idx="71">
                  <c:v>13.08.21</c:v>
                </c:pt>
                <c:pt idx="72">
                  <c:v>14.08.21</c:v>
                </c:pt>
                <c:pt idx="73">
                  <c:v>15.08.21</c:v>
                </c:pt>
                <c:pt idx="74">
                  <c:v>16.08.21</c:v>
                </c:pt>
                <c:pt idx="75">
                  <c:v>17.08.21</c:v>
                </c:pt>
                <c:pt idx="76">
                  <c:v>18.08.21</c:v>
                </c:pt>
                <c:pt idx="77">
                  <c:v>19.08.21</c:v>
                </c:pt>
                <c:pt idx="78">
                  <c:v>20.08.21</c:v>
                </c:pt>
                <c:pt idx="79">
                  <c:v>21.08.21</c:v>
                </c:pt>
                <c:pt idx="80">
                  <c:v>22.08.21</c:v>
                </c:pt>
                <c:pt idx="81">
                  <c:v>23.08.21</c:v>
                </c:pt>
                <c:pt idx="82">
                  <c:v>24.08.21</c:v>
                </c:pt>
                <c:pt idx="83">
                  <c:v>25.08.21</c:v>
                </c:pt>
                <c:pt idx="84">
                  <c:v>26.08.21</c:v>
                </c:pt>
                <c:pt idx="85">
                  <c:v>27.08.21</c:v>
                </c:pt>
                <c:pt idx="86">
                  <c:v>28.08.21</c:v>
                </c:pt>
                <c:pt idx="87">
                  <c:v>29.08.21</c:v>
                </c:pt>
                <c:pt idx="88">
                  <c:v>30.08.21</c:v>
                </c:pt>
                <c:pt idx="89">
                  <c:v>31.08.21</c:v>
                </c:pt>
                <c:pt idx="90">
                  <c:v>01.09.21</c:v>
                </c:pt>
                <c:pt idx="91">
                  <c:v>02.09.21</c:v>
                </c:pt>
                <c:pt idx="92">
                  <c:v>03.09.21</c:v>
                </c:pt>
                <c:pt idx="93">
                  <c:v>04.09.21</c:v>
                </c:pt>
                <c:pt idx="94">
                  <c:v>05.09.21</c:v>
                </c:pt>
                <c:pt idx="95">
                  <c:v>06.09.21</c:v>
                </c:pt>
                <c:pt idx="96">
                  <c:v>07.09.21</c:v>
                </c:pt>
                <c:pt idx="97">
                  <c:v>08.09.21</c:v>
                </c:pt>
                <c:pt idx="98">
                  <c:v>09.09.21</c:v>
                </c:pt>
                <c:pt idx="99">
                  <c:v>10.09.21</c:v>
                </c:pt>
                <c:pt idx="100">
                  <c:v>11.09.21</c:v>
                </c:pt>
                <c:pt idx="101">
                  <c:v>12.09.21</c:v>
                </c:pt>
                <c:pt idx="102">
                  <c:v>13.09.21</c:v>
                </c:pt>
                <c:pt idx="103">
                  <c:v>14.09.21</c:v>
                </c:pt>
                <c:pt idx="104">
                  <c:v>15.09.21</c:v>
                </c:pt>
                <c:pt idx="105">
                  <c:v>16.09.21</c:v>
                </c:pt>
                <c:pt idx="106">
                  <c:v>17.09.21</c:v>
                </c:pt>
                <c:pt idx="107">
                  <c:v>18.09.21</c:v>
                </c:pt>
                <c:pt idx="108">
                  <c:v>19.09.21</c:v>
                </c:pt>
                <c:pt idx="109">
                  <c:v>20.09.21</c:v>
                </c:pt>
                <c:pt idx="110">
                  <c:v>21.09.21</c:v>
                </c:pt>
                <c:pt idx="111">
                  <c:v>22.09.21</c:v>
                </c:pt>
                <c:pt idx="112">
                  <c:v>23.09.21</c:v>
                </c:pt>
                <c:pt idx="113">
                  <c:v>24.09.21</c:v>
                </c:pt>
                <c:pt idx="114">
                  <c:v>25.09.21</c:v>
                </c:pt>
                <c:pt idx="115">
                  <c:v>26.09.21</c:v>
                </c:pt>
                <c:pt idx="116">
                  <c:v>27.09.21</c:v>
                </c:pt>
                <c:pt idx="117">
                  <c:v>28.09.21</c:v>
                </c:pt>
                <c:pt idx="118">
                  <c:v>29.09.21</c:v>
                </c:pt>
                <c:pt idx="119">
                  <c:v>30.09.21</c:v>
                </c:pt>
                <c:pt idx="120">
                  <c:v>01.10.21</c:v>
                </c:pt>
                <c:pt idx="121">
                  <c:v>02.10.21</c:v>
                </c:pt>
                <c:pt idx="122">
                  <c:v>03.10.21</c:v>
                </c:pt>
                <c:pt idx="123">
                  <c:v>04.10.21</c:v>
                </c:pt>
                <c:pt idx="124">
                  <c:v>05.10.21</c:v>
                </c:pt>
                <c:pt idx="125">
                  <c:v>06.10.21</c:v>
                </c:pt>
                <c:pt idx="126">
                  <c:v>07.10.21</c:v>
                </c:pt>
                <c:pt idx="127">
                  <c:v>08.10.21</c:v>
                </c:pt>
                <c:pt idx="128">
                  <c:v>09.10.21</c:v>
                </c:pt>
                <c:pt idx="129">
                  <c:v>10.10.21</c:v>
                </c:pt>
                <c:pt idx="130">
                  <c:v>11.10.21</c:v>
                </c:pt>
                <c:pt idx="131">
                  <c:v>12.10.21</c:v>
                </c:pt>
                <c:pt idx="132">
                  <c:v>13.10.21</c:v>
                </c:pt>
                <c:pt idx="133">
                  <c:v>14.10.21</c:v>
                </c:pt>
                <c:pt idx="134">
                  <c:v>15.10.21</c:v>
                </c:pt>
                <c:pt idx="135">
                  <c:v>16.10.21</c:v>
                </c:pt>
                <c:pt idx="136">
                  <c:v>17.10.21</c:v>
                </c:pt>
                <c:pt idx="137">
                  <c:v>18.10.21</c:v>
                </c:pt>
                <c:pt idx="138">
                  <c:v>19.10.21</c:v>
                </c:pt>
                <c:pt idx="139">
                  <c:v>20.10.21</c:v>
                </c:pt>
                <c:pt idx="140">
                  <c:v>21.10.21</c:v>
                </c:pt>
                <c:pt idx="141">
                  <c:v>22.10.21</c:v>
                </c:pt>
                <c:pt idx="142">
                  <c:v>23.10.21</c:v>
                </c:pt>
                <c:pt idx="143">
                  <c:v>24.10.21</c:v>
                </c:pt>
                <c:pt idx="144">
                  <c:v>25.10.21</c:v>
                </c:pt>
                <c:pt idx="145">
                  <c:v>26.10.21</c:v>
                </c:pt>
                <c:pt idx="146">
                  <c:v>27.10.21</c:v>
                </c:pt>
                <c:pt idx="147">
                  <c:v>28.10.21</c:v>
                </c:pt>
                <c:pt idx="148">
                  <c:v>29.10.21</c:v>
                </c:pt>
                <c:pt idx="149">
                  <c:v>30.10.21</c:v>
                </c:pt>
                <c:pt idx="150">
                  <c:v>31.10.21</c:v>
                </c:pt>
                <c:pt idx="151">
                  <c:v>01.11.21</c:v>
                </c:pt>
                <c:pt idx="152">
                  <c:v>02.11.21</c:v>
                </c:pt>
                <c:pt idx="153">
                  <c:v>03.11.21</c:v>
                </c:pt>
                <c:pt idx="154">
                  <c:v>04.11.21</c:v>
                </c:pt>
                <c:pt idx="155">
                  <c:v>05.11.21</c:v>
                </c:pt>
                <c:pt idx="156">
                  <c:v>06.11.21</c:v>
                </c:pt>
                <c:pt idx="157">
                  <c:v>07.11.21</c:v>
                </c:pt>
                <c:pt idx="158">
                  <c:v>08.11.21</c:v>
                </c:pt>
                <c:pt idx="159">
                  <c:v>09.11.21</c:v>
                </c:pt>
                <c:pt idx="160">
                  <c:v>10.11.21</c:v>
                </c:pt>
                <c:pt idx="161">
                  <c:v>11.11.21</c:v>
                </c:pt>
                <c:pt idx="162">
                  <c:v>12.11.21</c:v>
                </c:pt>
                <c:pt idx="163">
                  <c:v>13.11.21</c:v>
                </c:pt>
                <c:pt idx="164">
                  <c:v>14.11.21</c:v>
                </c:pt>
                <c:pt idx="165">
                  <c:v>15.11.21</c:v>
                </c:pt>
                <c:pt idx="166">
                  <c:v>16.11.21</c:v>
                </c:pt>
                <c:pt idx="167">
                  <c:v>17.11.21</c:v>
                </c:pt>
                <c:pt idx="168">
                  <c:v>18.11.21</c:v>
                </c:pt>
                <c:pt idx="169">
                  <c:v>19.11.21</c:v>
                </c:pt>
                <c:pt idx="170">
                  <c:v>20.11.21</c:v>
                </c:pt>
                <c:pt idx="171">
                  <c:v>21.11.21</c:v>
                </c:pt>
                <c:pt idx="172">
                  <c:v>22.11.21</c:v>
                </c:pt>
                <c:pt idx="173">
                  <c:v>23.11.21</c:v>
                </c:pt>
                <c:pt idx="174">
                  <c:v>24.11.21</c:v>
                </c:pt>
                <c:pt idx="175">
                  <c:v>25.11.21</c:v>
                </c:pt>
                <c:pt idx="176">
                  <c:v>26.11.21</c:v>
                </c:pt>
                <c:pt idx="177">
                  <c:v>27.11.21</c:v>
                </c:pt>
                <c:pt idx="178">
                  <c:v>28.11.21</c:v>
                </c:pt>
                <c:pt idx="179">
                  <c:v>29.11.21</c:v>
                </c:pt>
                <c:pt idx="180">
                  <c:v>30.11.21</c:v>
                </c:pt>
                <c:pt idx="181">
                  <c:v>01.12.21</c:v>
                </c:pt>
                <c:pt idx="182">
                  <c:v>02.12.21</c:v>
                </c:pt>
              </c:strCache>
            </c:strRef>
          </c:cat>
          <c:val>
            <c:numRef>
              <c:f>List1!$B$4:$GB$4</c:f>
              <c:numCache>
                <c:formatCode>General</c:formatCode>
                <c:ptCount val="183"/>
                <c:pt idx="0">
                  <c:v>2</c:v>
                </c:pt>
                <c:pt idx="1">
                  <c:v>1</c:v>
                </c:pt>
                <c:pt idx="2">
                  <c:v>1</c:v>
                </c:pt>
                <c:pt idx="3">
                  <c:v>0</c:v>
                </c:pt>
                <c:pt idx="4">
                  <c:v>2</c:v>
                </c:pt>
                <c:pt idx="5">
                  <c:v>1</c:v>
                </c:pt>
                <c:pt idx="6">
                  <c:v>2</c:v>
                </c:pt>
                <c:pt idx="7">
                  <c:v>1</c:v>
                </c:pt>
                <c:pt idx="8">
                  <c:v>0</c:v>
                </c:pt>
                <c:pt idx="9">
                  <c:v>1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1</c:v>
                </c:pt>
                <c:pt idx="14">
                  <c:v>2</c:v>
                </c:pt>
                <c:pt idx="15">
                  <c:v>0</c:v>
                </c:pt>
                <c:pt idx="16">
                  <c:v>1</c:v>
                </c:pt>
                <c:pt idx="17">
                  <c:v>1</c:v>
                </c:pt>
                <c:pt idx="18">
                  <c:v>0</c:v>
                </c:pt>
                <c:pt idx="19">
                  <c:v>1</c:v>
                </c:pt>
                <c:pt idx="20">
                  <c:v>2</c:v>
                </c:pt>
                <c:pt idx="21">
                  <c:v>2</c:v>
                </c:pt>
                <c:pt idx="22">
                  <c:v>0</c:v>
                </c:pt>
                <c:pt idx="23">
                  <c:v>1</c:v>
                </c:pt>
                <c:pt idx="24">
                  <c:v>2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1</c:v>
                </c:pt>
                <c:pt idx="34">
                  <c:v>1</c:v>
                </c:pt>
                <c:pt idx="35">
                  <c:v>4</c:v>
                </c:pt>
                <c:pt idx="36">
                  <c:v>4</c:v>
                </c:pt>
                <c:pt idx="37">
                  <c:v>0</c:v>
                </c:pt>
                <c:pt idx="38">
                  <c:v>0</c:v>
                </c:pt>
                <c:pt idx="39">
                  <c:v>3</c:v>
                </c:pt>
                <c:pt idx="40">
                  <c:v>0</c:v>
                </c:pt>
                <c:pt idx="41">
                  <c:v>4</c:v>
                </c:pt>
                <c:pt idx="42">
                  <c:v>2</c:v>
                </c:pt>
                <c:pt idx="43">
                  <c:v>5</c:v>
                </c:pt>
                <c:pt idx="44">
                  <c:v>1</c:v>
                </c:pt>
                <c:pt idx="45">
                  <c:v>1</c:v>
                </c:pt>
                <c:pt idx="46">
                  <c:v>3</c:v>
                </c:pt>
                <c:pt idx="47">
                  <c:v>5</c:v>
                </c:pt>
                <c:pt idx="48">
                  <c:v>1</c:v>
                </c:pt>
                <c:pt idx="49">
                  <c:v>3</c:v>
                </c:pt>
                <c:pt idx="50">
                  <c:v>2</c:v>
                </c:pt>
                <c:pt idx="51">
                  <c:v>0</c:v>
                </c:pt>
                <c:pt idx="52">
                  <c:v>1</c:v>
                </c:pt>
                <c:pt idx="53">
                  <c:v>3</c:v>
                </c:pt>
                <c:pt idx="54">
                  <c:v>4</c:v>
                </c:pt>
                <c:pt idx="55">
                  <c:v>1</c:v>
                </c:pt>
                <c:pt idx="56">
                  <c:v>3</c:v>
                </c:pt>
                <c:pt idx="57">
                  <c:v>1</c:v>
                </c:pt>
                <c:pt idx="58">
                  <c:v>1</c:v>
                </c:pt>
                <c:pt idx="59">
                  <c:v>1</c:v>
                </c:pt>
                <c:pt idx="60">
                  <c:v>2</c:v>
                </c:pt>
                <c:pt idx="61">
                  <c:v>3</c:v>
                </c:pt>
                <c:pt idx="62">
                  <c:v>3</c:v>
                </c:pt>
                <c:pt idx="63">
                  <c:v>1</c:v>
                </c:pt>
                <c:pt idx="64">
                  <c:v>2</c:v>
                </c:pt>
                <c:pt idx="65">
                  <c:v>1</c:v>
                </c:pt>
                <c:pt idx="66">
                  <c:v>0</c:v>
                </c:pt>
                <c:pt idx="67">
                  <c:v>7</c:v>
                </c:pt>
                <c:pt idx="68">
                  <c:v>1</c:v>
                </c:pt>
                <c:pt idx="69">
                  <c:v>1</c:v>
                </c:pt>
                <c:pt idx="70">
                  <c:v>2</c:v>
                </c:pt>
                <c:pt idx="71">
                  <c:v>5</c:v>
                </c:pt>
                <c:pt idx="72">
                  <c:v>2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1</c:v>
                </c:pt>
                <c:pt idx="77">
                  <c:v>0</c:v>
                </c:pt>
                <c:pt idx="78">
                  <c:v>3</c:v>
                </c:pt>
                <c:pt idx="79">
                  <c:v>2</c:v>
                </c:pt>
                <c:pt idx="80">
                  <c:v>2</c:v>
                </c:pt>
                <c:pt idx="81">
                  <c:v>1</c:v>
                </c:pt>
                <c:pt idx="82">
                  <c:v>3</c:v>
                </c:pt>
                <c:pt idx="83">
                  <c:v>5</c:v>
                </c:pt>
                <c:pt idx="84">
                  <c:v>2</c:v>
                </c:pt>
                <c:pt idx="85">
                  <c:v>2</c:v>
                </c:pt>
                <c:pt idx="86">
                  <c:v>0</c:v>
                </c:pt>
                <c:pt idx="87">
                  <c:v>1</c:v>
                </c:pt>
                <c:pt idx="88">
                  <c:v>1</c:v>
                </c:pt>
                <c:pt idx="89">
                  <c:v>1</c:v>
                </c:pt>
                <c:pt idx="90">
                  <c:v>2</c:v>
                </c:pt>
                <c:pt idx="91">
                  <c:v>4</c:v>
                </c:pt>
                <c:pt idx="92">
                  <c:v>6</c:v>
                </c:pt>
                <c:pt idx="93">
                  <c:v>5</c:v>
                </c:pt>
                <c:pt idx="94">
                  <c:v>1</c:v>
                </c:pt>
                <c:pt idx="95">
                  <c:v>5</c:v>
                </c:pt>
                <c:pt idx="96">
                  <c:v>4</c:v>
                </c:pt>
                <c:pt idx="97">
                  <c:v>1</c:v>
                </c:pt>
                <c:pt idx="98">
                  <c:v>3</c:v>
                </c:pt>
                <c:pt idx="99">
                  <c:v>2</c:v>
                </c:pt>
                <c:pt idx="100">
                  <c:v>0</c:v>
                </c:pt>
                <c:pt idx="101">
                  <c:v>3</c:v>
                </c:pt>
                <c:pt idx="102">
                  <c:v>2</c:v>
                </c:pt>
                <c:pt idx="103">
                  <c:v>3</c:v>
                </c:pt>
                <c:pt idx="104">
                  <c:v>5</c:v>
                </c:pt>
                <c:pt idx="105">
                  <c:v>7</c:v>
                </c:pt>
                <c:pt idx="106">
                  <c:v>4</c:v>
                </c:pt>
                <c:pt idx="107">
                  <c:v>2</c:v>
                </c:pt>
                <c:pt idx="108">
                  <c:v>5</c:v>
                </c:pt>
                <c:pt idx="109">
                  <c:v>8</c:v>
                </c:pt>
                <c:pt idx="110">
                  <c:v>9</c:v>
                </c:pt>
                <c:pt idx="111">
                  <c:v>8</c:v>
                </c:pt>
                <c:pt idx="112">
                  <c:v>5</c:v>
                </c:pt>
                <c:pt idx="113">
                  <c:v>4</c:v>
                </c:pt>
                <c:pt idx="114">
                  <c:v>4</c:v>
                </c:pt>
                <c:pt idx="115">
                  <c:v>2</c:v>
                </c:pt>
                <c:pt idx="116">
                  <c:v>7</c:v>
                </c:pt>
                <c:pt idx="117">
                  <c:v>6</c:v>
                </c:pt>
                <c:pt idx="118">
                  <c:v>8</c:v>
                </c:pt>
                <c:pt idx="119">
                  <c:v>12</c:v>
                </c:pt>
                <c:pt idx="120">
                  <c:v>8</c:v>
                </c:pt>
                <c:pt idx="121">
                  <c:v>4</c:v>
                </c:pt>
                <c:pt idx="122">
                  <c:v>7</c:v>
                </c:pt>
                <c:pt idx="123">
                  <c:v>8</c:v>
                </c:pt>
                <c:pt idx="124">
                  <c:v>12</c:v>
                </c:pt>
                <c:pt idx="125">
                  <c:v>13</c:v>
                </c:pt>
                <c:pt idx="126">
                  <c:v>15</c:v>
                </c:pt>
                <c:pt idx="127">
                  <c:v>8</c:v>
                </c:pt>
                <c:pt idx="128">
                  <c:v>7</c:v>
                </c:pt>
                <c:pt idx="129">
                  <c:v>5</c:v>
                </c:pt>
                <c:pt idx="130">
                  <c:v>19</c:v>
                </c:pt>
                <c:pt idx="131">
                  <c:v>31</c:v>
                </c:pt>
                <c:pt idx="132">
                  <c:v>18</c:v>
                </c:pt>
                <c:pt idx="133">
                  <c:v>16</c:v>
                </c:pt>
                <c:pt idx="134">
                  <c:v>14</c:v>
                </c:pt>
                <c:pt idx="135">
                  <c:v>9</c:v>
                </c:pt>
                <c:pt idx="136">
                  <c:v>13</c:v>
                </c:pt>
                <c:pt idx="137">
                  <c:v>38</c:v>
                </c:pt>
                <c:pt idx="138">
                  <c:v>53</c:v>
                </c:pt>
                <c:pt idx="139">
                  <c:v>48</c:v>
                </c:pt>
                <c:pt idx="140">
                  <c:v>53</c:v>
                </c:pt>
                <c:pt idx="141">
                  <c:v>42</c:v>
                </c:pt>
                <c:pt idx="142">
                  <c:v>27</c:v>
                </c:pt>
                <c:pt idx="143">
                  <c:v>19</c:v>
                </c:pt>
                <c:pt idx="144">
                  <c:v>75</c:v>
                </c:pt>
                <c:pt idx="145">
                  <c:v>80</c:v>
                </c:pt>
                <c:pt idx="146">
                  <c:v>63</c:v>
                </c:pt>
                <c:pt idx="147">
                  <c:v>38</c:v>
                </c:pt>
                <c:pt idx="148">
                  <c:v>78</c:v>
                </c:pt>
                <c:pt idx="149">
                  <c:v>50</c:v>
                </c:pt>
                <c:pt idx="150">
                  <c:v>40</c:v>
                </c:pt>
                <c:pt idx="151">
                  <c:v>129</c:v>
                </c:pt>
                <c:pt idx="152">
                  <c:v>129</c:v>
                </c:pt>
                <c:pt idx="153">
                  <c:v>100</c:v>
                </c:pt>
                <c:pt idx="154">
                  <c:v>106</c:v>
                </c:pt>
                <c:pt idx="155">
                  <c:v>126</c:v>
                </c:pt>
                <c:pt idx="156">
                  <c:v>53</c:v>
                </c:pt>
                <c:pt idx="157">
                  <c:v>37</c:v>
                </c:pt>
                <c:pt idx="158">
                  <c:v>127</c:v>
                </c:pt>
                <c:pt idx="159">
                  <c:v>138</c:v>
                </c:pt>
                <c:pt idx="160">
                  <c:v>139</c:v>
                </c:pt>
                <c:pt idx="161">
                  <c:v>113</c:v>
                </c:pt>
                <c:pt idx="162">
                  <c:v>158</c:v>
                </c:pt>
                <c:pt idx="163">
                  <c:v>93</c:v>
                </c:pt>
                <c:pt idx="164">
                  <c:v>49</c:v>
                </c:pt>
                <c:pt idx="165">
                  <c:v>156</c:v>
                </c:pt>
                <c:pt idx="166">
                  <c:v>190</c:v>
                </c:pt>
                <c:pt idx="167">
                  <c:v>136</c:v>
                </c:pt>
                <c:pt idx="168">
                  <c:v>156</c:v>
                </c:pt>
                <c:pt idx="169">
                  <c:v>235</c:v>
                </c:pt>
                <c:pt idx="170">
                  <c:v>118</c:v>
                </c:pt>
                <c:pt idx="171">
                  <c:v>87</c:v>
                </c:pt>
                <c:pt idx="172">
                  <c:v>195</c:v>
                </c:pt>
                <c:pt idx="173">
                  <c:v>202</c:v>
                </c:pt>
                <c:pt idx="174">
                  <c:v>168</c:v>
                </c:pt>
                <c:pt idx="175">
                  <c:v>243</c:v>
                </c:pt>
                <c:pt idx="176">
                  <c:v>139</c:v>
                </c:pt>
                <c:pt idx="177">
                  <c:v>108</c:v>
                </c:pt>
                <c:pt idx="178">
                  <c:v>80</c:v>
                </c:pt>
                <c:pt idx="179">
                  <c:v>191</c:v>
                </c:pt>
                <c:pt idx="180">
                  <c:v>156</c:v>
                </c:pt>
                <c:pt idx="181">
                  <c:v>146</c:v>
                </c:pt>
                <c:pt idx="182">
                  <c:v>1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8FD-43E4-BA1D-0B494D841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ax val="3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5491925027349E-2"/>
          <c:y val="2.8733097084892491E-2"/>
          <c:w val="0.69322079746689458"/>
          <c:h val="0.83918438300516462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2.3312783206719222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4472C4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4.114706235985942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B$1</c:f>
              <c:strCache>
                <c:ptCount val="183"/>
                <c:pt idx="0">
                  <c:v>03.06.21</c:v>
                </c:pt>
                <c:pt idx="1">
                  <c:v>04.06.21</c:v>
                </c:pt>
                <c:pt idx="2">
                  <c:v>05.06.21</c:v>
                </c:pt>
                <c:pt idx="3">
                  <c:v>06.06.21</c:v>
                </c:pt>
                <c:pt idx="4">
                  <c:v>07.06.21</c:v>
                </c:pt>
                <c:pt idx="5">
                  <c:v>08.06.21</c:v>
                </c:pt>
                <c:pt idx="6">
                  <c:v>09.06.21</c:v>
                </c:pt>
                <c:pt idx="7">
                  <c:v>10.06.21</c:v>
                </c:pt>
                <c:pt idx="8">
                  <c:v>11.06.21</c:v>
                </c:pt>
                <c:pt idx="9">
                  <c:v>12.06.21</c:v>
                </c:pt>
                <c:pt idx="10">
                  <c:v>13.06.21</c:v>
                </c:pt>
                <c:pt idx="11">
                  <c:v>14.06.21</c:v>
                </c:pt>
                <c:pt idx="12">
                  <c:v>15.06.21</c:v>
                </c:pt>
                <c:pt idx="13">
                  <c:v>16.06.21</c:v>
                </c:pt>
                <c:pt idx="14">
                  <c:v>17.06.21</c:v>
                </c:pt>
                <c:pt idx="15">
                  <c:v>18.06.21</c:v>
                </c:pt>
                <c:pt idx="16">
                  <c:v>19.06.21</c:v>
                </c:pt>
                <c:pt idx="17">
                  <c:v>20.06.21</c:v>
                </c:pt>
                <c:pt idx="18">
                  <c:v>21.06.21</c:v>
                </c:pt>
                <c:pt idx="19">
                  <c:v>22.06.21</c:v>
                </c:pt>
                <c:pt idx="20">
                  <c:v>23.06.21</c:v>
                </c:pt>
                <c:pt idx="21">
                  <c:v>24.06.21</c:v>
                </c:pt>
                <c:pt idx="22">
                  <c:v>25.06.21</c:v>
                </c:pt>
                <c:pt idx="23">
                  <c:v>26.06.21</c:v>
                </c:pt>
                <c:pt idx="24">
                  <c:v>27.06.21</c:v>
                </c:pt>
                <c:pt idx="25">
                  <c:v>28.06.21</c:v>
                </c:pt>
                <c:pt idx="26">
                  <c:v>29.06.21</c:v>
                </c:pt>
                <c:pt idx="27">
                  <c:v>30.06.21</c:v>
                </c:pt>
                <c:pt idx="28">
                  <c:v>01.07.21</c:v>
                </c:pt>
                <c:pt idx="29">
                  <c:v>02.07.21</c:v>
                </c:pt>
                <c:pt idx="30">
                  <c:v>03.07.21</c:v>
                </c:pt>
                <c:pt idx="31">
                  <c:v>04.07.21</c:v>
                </c:pt>
                <c:pt idx="32">
                  <c:v>05.07.21</c:v>
                </c:pt>
                <c:pt idx="33">
                  <c:v>06.07.21</c:v>
                </c:pt>
                <c:pt idx="34">
                  <c:v>07.07.21</c:v>
                </c:pt>
                <c:pt idx="35">
                  <c:v>08.07.21</c:v>
                </c:pt>
                <c:pt idx="36">
                  <c:v>09.07.21</c:v>
                </c:pt>
                <c:pt idx="37">
                  <c:v>10.07.21</c:v>
                </c:pt>
                <c:pt idx="38">
                  <c:v>11.07.21</c:v>
                </c:pt>
                <c:pt idx="39">
                  <c:v>12.07.21</c:v>
                </c:pt>
                <c:pt idx="40">
                  <c:v>13.07.21</c:v>
                </c:pt>
                <c:pt idx="41">
                  <c:v>14.07.21</c:v>
                </c:pt>
                <c:pt idx="42">
                  <c:v>15.07.21</c:v>
                </c:pt>
                <c:pt idx="43">
                  <c:v>16.07.21</c:v>
                </c:pt>
                <c:pt idx="44">
                  <c:v>17.07.21</c:v>
                </c:pt>
                <c:pt idx="45">
                  <c:v>18.07.21</c:v>
                </c:pt>
                <c:pt idx="46">
                  <c:v>19.07.21</c:v>
                </c:pt>
                <c:pt idx="47">
                  <c:v>20.07.21</c:v>
                </c:pt>
                <c:pt idx="48">
                  <c:v>21.07.21</c:v>
                </c:pt>
                <c:pt idx="49">
                  <c:v>22.07.21</c:v>
                </c:pt>
                <c:pt idx="50">
                  <c:v>23.07.21</c:v>
                </c:pt>
                <c:pt idx="51">
                  <c:v>24.07.21</c:v>
                </c:pt>
                <c:pt idx="52">
                  <c:v>25.07.21</c:v>
                </c:pt>
                <c:pt idx="53">
                  <c:v>26.07.21</c:v>
                </c:pt>
                <c:pt idx="54">
                  <c:v>27.07.21</c:v>
                </c:pt>
                <c:pt idx="55">
                  <c:v>28.07.21</c:v>
                </c:pt>
                <c:pt idx="56">
                  <c:v>29.07.21</c:v>
                </c:pt>
                <c:pt idx="57">
                  <c:v>30.07.21</c:v>
                </c:pt>
                <c:pt idx="58">
                  <c:v>31.07.21</c:v>
                </c:pt>
                <c:pt idx="59">
                  <c:v>01.08.21</c:v>
                </c:pt>
                <c:pt idx="60">
                  <c:v>02.08.21</c:v>
                </c:pt>
                <c:pt idx="61">
                  <c:v>03.08.21</c:v>
                </c:pt>
                <c:pt idx="62">
                  <c:v>04.08.21</c:v>
                </c:pt>
                <c:pt idx="63">
                  <c:v>05.08.21</c:v>
                </c:pt>
                <c:pt idx="64">
                  <c:v>06.08.21</c:v>
                </c:pt>
                <c:pt idx="65">
                  <c:v>07.08.21</c:v>
                </c:pt>
                <c:pt idx="66">
                  <c:v>08.08.21</c:v>
                </c:pt>
                <c:pt idx="67">
                  <c:v>09.08.21</c:v>
                </c:pt>
                <c:pt idx="68">
                  <c:v>10.08.21</c:v>
                </c:pt>
                <c:pt idx="69">
                  <c:v>11.08.21</c:v>
                </c:pt>
                <c:pt idx="70">
                  <c:v>12.08.21</c:v>
                </c:pt>
                <c:pt idx="71">
                  <c:v>13.08.21</c:v>
                </c:pt>
                <c:pt idx="72">
                  <c:v>14.08.21</c:v>
                </c:pt>
                <c:pt idx="73">
                  <c:v>15.08.21</c:v>
                </c:pt>
                <c:pt idx="74">
                  <c:v>16.08.21</c:v>
                </c:pt>
                <c:pt idx="75">
                  <c:v>17.08.21</c:v>
                </c:pt>
                <c:pt idx="76">
                  <c:v>18.08.21</c:v>
                </c:pt>
                <c:pt idx="77">
                  <c:v>19.08.21</c:v>
                </c:pt>
                <c:pt idx="78">
                  <c:v>20.08.21</c:v>
                </c:pt>
                <c:pt idx="79">
                  <c:v>21.08.21</c:v>
                </c:pt>
                <c:pt idx="80">
                  <c:v>22.08.21</c:v>
                </c:pt>
                <c:pt idx="81">
                  <c:v>23.08.21</c:v>
                </c:pt>
                <c:pt idx="82">
                  <c:v>24.08.21</c:v>
                </c:pt>
                <c:pt idx="83">
                  <c:v>25.08.21</c:v>
                </c:pt>
                <c:pt idx="84">
                  <c:v>26.08.21</c:v>
                </c:pt>
                <c:pt idx="85">
                  <c:v>27.08.21</c:v>
                </c:pt>
                <c:pt idx="86">
                  <c:v>28.08.21</c:v>
                </c:pt>
                <c:pt idx="87">
                  <c:v>29.08.21</c:v>
                </c:pt>
                <c:pt idx="88">
                  <c:v>30.08.21</c:v>
                </c:pt>
                <c:pt idx="89">
                  <c:v>31.08.21</c:v>
                </c:pt>
                <c:pt idx="90">
                  <c:v>01.09.21</c:v>
                </c:pt>
                <c:pt idx="91">
                  <c:v>02.09.21</c:v>
                </c:pt>
                <c:pt idx="92">
                  <c:v>03.09.21</c:v>
                </c:pt>
                <c:pt idx="93">
                  <c:v>04.09.21</c:v>
                </c:pt>
                <c:pt idx="94">
                  <c:v>05.09.21</c:v>
                </c:pt>
                <c:pt idx="95">
                  <c:v>06.09.21</c:v>
                </c:pt>
                <c:pt idx="96">
                  <c:v>07.09.21</c:v>
                </c:pt>
                <c:pt idx="97">
                  <c:v>08.09.21</c:v>
                </c:pt>
                <c:pt idx="98">
                  <c:v>09.09.21</c:v>
                </c:pt>
                <c:pt idx="99">
                  <c:v>10.09.21</c:v>
                </c:pt>
                <c:pt idx="100">
                  <c:v>11.09.21</c:v>
                </c:pt>
                <c:pt idx="101">
                  <c:v>12.09.21</c:v>
                </c:pt>
                <c:pt idx="102">
                  <c:v>13.09.21</c:v>
                </c:pt>
                <c:pt idx="103">
                  <c:v>14.09.21</c:v>
                </c:pt>
                <c:pt idx="104">
                  <c:v>15.09.21</c:v>
                </c:pt>
                <c:pt idx="105">
                  <c:v>16.09.21</c:v>
                </c:pt>
                <c:pt idx="106">
                  <c:v>17.09.21</c:v>
                </c:pt>
                <c:pt idx="107">
                  <c:v>18.09.21</c:v>
                </c:pt>
                <c:pt idx="108">
                  <c:v>19.09.21</c:v>
                </c:pt>
                <c:pt idx="109">
                  <c:v>20.09.21</c:v>
                </c:pt>
                <c:pt idx="110">
                  <c:v>21.09.21</c:v>
                </c:pt>
                <c:pt idx="111">
                  <c:v>22.09.21</c:v>
                </c:pt>
                <c:pt idx="112">
                  <c:v>23.09.21</c:v>
                </c:pt>
                <c:pt idx="113">
                  <c:v>24.09.21</c:v>
                </c:pt>
                <c:pt idx="114">
                  <c:v>25.09.21</c:v>
                </c:pt>
                <c:pt idx="115">
                  <c:v>26.09.21</c:v>
                </c:pt>
                <c:pt idx="116">
                  <c:v>27.09.21</c:v>
                </c:pt>
                <c:pt idx="117">
                  <c:v>28.09.21</c:v>
                </c:pt>
                <c:pt idx="118">
                  <c:v>29.09.21</c:v>
                </c:pt>
                <c:pt idx="119">
                  <c:v>30.09.21</c:v>
                </c:pt>
                <c:pt idx="120">
                  <c:v>01.10.21</c:v>
                </c:pt>
                <c:pt idx="121">
                  <c:v>02.10.21</c:v>
                </c:pt>
                <c:pt idx="122">
                  <c:v>03.10.21</c:v>
                </c:pt>
                <c:pt idx="123">
                  <c:v>04.10.21</c:v>
                </c:pt>
                <c:pt idx="124">
                  <c:v>05.10.21</c:v>
                </c:pt>
                <c:pt idx="125">
                  <c:v>06.10.21</c:v>
                </c:pt>
                <c:pt idx="126">
                  <c:v>07.10.21</c:v>
                </c:pt>
                <c:pt idx="127">
                  <c:v>08.10.21</c:v>
                </c:pt>
                <c:pt idx="128">
                  <c:v>09.10.21</c:v>
                </c:pt>
                <c:pt idx="129">
                  <c:v>10.10.21</c:v>
                </c:pt>
                <c:pt idx="130">
                  <c:v>11.10.21</c:v>
                </c:pt>
                <c:pt idx="131">
                  <c:v>12.10.21</c:v>
                </c:pt>
                <c:pt idx="132">
                  <c:v>13.10.21</c:v>
                </c:pt>
                <c:pt idx="133">
                  <c:v>14.10.21</c:v>
                </c:pt>
                <c:pt idx="134">
                  <c:v>15.10.21</c:v>
                </c:pt>
                <c:pt idx="135">
                  <c:v>16.10.21</c:v>
                </c:pt>
                <c:pt idx="136">
                  <c:v>17.10.21</c:v>
                </c:pt>
                <c:pt idx="137">
                  <c:v>18.10.21</c:v>
                </c:pt>
                <c:pt idx="138">
                  <c:v>19.10.21</c:v>
                </c:pt>
                <c:pt idx="139">
                  <c:v>20.10.21</c:v>
                </c:pt>
                <c:pt idx="140">
                  <c:v>21.10.21</c:v>
                </c:pt>
                <c:pt idx="141">
                  <c:v>22.10.21</c:v>
                </c:pt>
                <c:pt idx="142">
                  <c:v>23.10.21</c:v>
                </c:pt>
                <c:pt idx="143">
                  <c:v>24.10.21</c:v>
                </c:pt>
                <c:pt idx="144">
                  <c:v>25.10.21</c:v>
                </c:pt>
                <c:pt idx="145">
                  <c:v>26.10.21</c:v>
                </c:pt>
                <c:pt idx="146">
                  <c:v>27.10.21</c:v>
                </c:pt>
                <c:pt idx="147">
                  <c:v>28.10.21</c:v>
                </c:pt>
                <c:pt idx="148">
                  <c:v>29.10.21</c:v>
                </c:pt>
                <c:pt idx="149">
                  <c:v>30.10.21</c:v>
                </c:pt>
                <c:pt idx="150">
                  <c:v>31.10.21</c:v>
                </c:pt>
                <c:pt idx="151">
                  <c:v>01.11.21</c:v>
                </c:pt>
                <c:pt idx="152">
                  <c:v>02.11.21</c:v>
                </c:pt>
                <c:pt idx="153">
                  <c:v>03.11.21</c:v>
                </c:pt>
                <c:pt idx="154">
                  <c:v>04.11.21</c:v>
                </c:pt>
                <c:pt idx="155">
                  <c:v>05.11.21</c:v>
                </c:pt>
                <c:pt idx="156">
                  <c:v>06.11.21</c:v>
                </c:pt>
                <c:pt idx="157">
                  <c:v>07.11.21</c:v>
                </c:pt>
                <c:pt idx="158">
                  <c:v>08.11.21</c:v>
                </c:pt>
                <c:pt idx="159">
                  <c:v>09.11.21</c:v>
                </c:pt>
                <c:pt idx="160">
                  <c:v>10.11.21</c:v>
                </c:pt>
                <c:pt idx="161">
                  <c:v>11.11.21</c:v>
                </c:pt>
                <c:pt idx="162">
                  <c:v>12.11.21</c:v>
                </c:pt>
                <c:pt idx="163">
                  <c:v>13.11.21</c:v>
                </c:pt>
                <c:pt idx="164">
                  <c:v>14.11.21</c:v>
                </c:pt>
                <c:pt idx="165">
                  <c:v>15.11.21</c:v>
                </c:pt>
                <c:pt idx="166">
                  <c:v>16.11.21</c:v>
                </c:pt>
                <c:pt idx="167">
                  <c:v>17.11.21</c:v>
                </c:pt>
                <c:pt idx="168">
                  <c:v>18.11.21</c:v>
                </c:pt>
                <c:pt idx="169">
                  <c:v>19.11.21</c:v>
                </c:pt>
                <c:pt idx="170">
                  <c:v>20.11.21</c:v>
                </c:pt>
                <c:pt idx="171">
                  <c:v>21.11.21</c:v>
                </c:pt>
                <c:pt idx="172">
                  <c:v>22.11.21</c:v>
                </c:pt>
                <c:pt idx="173">
                  <c:v>23.11.21</c:v>
                </c:pt>
                <c:pt idx="174">
                  <c:v>24.11.21</c:v>
                </c:pt>
                <c:pt idx="175">
                  <c:v>25.11.21</c:v>
                </c:pt>
                <c:pt idx="176">
                  <c:v>26.11.21</c:v>
                </c:pt>
                <c:pt idx="177">
                  <c:v>27.11.21</c:v>
                </c:pt>
                <c:pt idx="178">
                  <c:v>28.11.21</c:v>
                </c:pt>
                <c:pt idx="179">
                  <c:v>29.11.21</c:v>
                </c:pt>
                <c:pt idx="180">
                  <c:v>30.11.21</c:v>
                </c:pt>
                <c:pt idx="181">
                  <c:v>01.12.21</c:v>
                </c:pt>
                <c:pt idx="182">
                  <c:v>02.12.21</c:v>
                </c:pt>
              </c:strCache>
            </c:strRef>
          </c:cat>
          <c:val>
            <c:numRef>
              <c:f>List1!$B$2:$GB$2</c:f>
              <c:numCache>
                <c:formatCode>General</c:formatCode>
                <c:ptCount val="183"/>
                <c:pt idx="0">
                  <c:v>17</c:v>
                </c:pt>
                <c:pt idx="1">
                  <c:v>15</c:v>
                </c:pt>
                <c:pt idx="2">
                  <c:v>14</c:v>
                </c:pt>
                <c:pt idx="3">
                  <c:v>14</c:v>
                </c:pt>
                <c:pt idx="4">
                  <c:v>13</c:v>
                </c:pt>
                <c:pt idx="5">
                  <c:v>12</c:v>
                </c:pt>
                <c:pt idx="6">
                  <c:v>10</c:v>
                </c:pt>
                <c:pt idx="7">
                  <c:v>7</c:v>
                </c:pt>
                <c:pt idx="8">
                  <c:v>7</c:v>
                </c:pt>
                <c:pt idx="9">
                  <c:v>6</c:v>
                </c:pt>
                <c:pt idx="10">
                  <c:v>3</c:v>
                </c:pt>
                <c:pt idx="11">
                  <c:v>4</c:v>
                </c:pt>
                <c:pt idx="12">
                  <c:v>4</c:v>
                </c:pt>
                <c:pt idx="13">
                  <c:v>4</c:v>
                </c:pt>
                <c:pt idx="14">
                  <c:v>4</c:v>
                </c:pt>
                <c:pt idx="15">
                  <c:v>5</c:v>
                </c:pt>
                <c:pt idx="16">
                  <c:v>5</c:v>
                </c:pt>
                <c:pt idx="17">
                  <c:v>5</c:v>
                </c:pt>
                <c:pt idx="18">
                  <c:v>5</c:v>
                </c:pt>
                <c:pt idx="19">
                  <c:v>5</c:v>
                </c:pt>
                <c:pt idx="20">
                  <c:v>5</c:v>
                </c:pt>
                <c:pt idx="21">
                  <c:v>5</c:v>
                </c:pt>
                <c:pt idx="22">
                  <c:v>5</c:v>
                </c:pt>
                <c:pt idx="23">
                  <c:v>5</c:v>
                </c:pt>
                <c:pt idx="24">
                  <c:v>5</c:v>
                </c:pt>
                <c:pt idx="25">
                  <c:v>4</c:v>
                </c:pt>
                <c:pt idx="26">
                  <c:v>4</c:v>
                </c:pt>
                <c:pt idx="27">
                  <c:v>4</c:v>
                </c:pt>
                <c:pt idx="28">
                  <c:v>5</c:v>
                </c:pt>
                <c:pt idx="29">
                  <c:v>5</c:v>
                </c:pt>
                <c:pt idx="30">
                  <c:v>5</c:v>
                </c:pt>
                <c:pt idx="31">
                  <c:v>6</c:v>
                </c:pt>
                <c:pt idx="32">
                  <c:v>6</c:v>
                </c:pt>
                <c:pt idx="33">
                  <c:v>6</c:v>
                </c:pt>
                <c:pt idx="34">
                  <c:v>6</c:v>
                </c:pt>
                <c:pt idx="35">
                  <c:v>6</c:v>
                </c:pt>
                <c:pt idx="36">
                  <c:v>8</c:v>
                </c:pt>
                <c:pt idx="37">
                  <c:v>8</c:v>
                </c:pt>
                <c:pt idx="38">
                  <c:v>8</c:v>
                </c:pt>
                <c:pt idx="39">
                  <c:v>10</c:v>
                </c:pt>
                <c:pt idx="40">
                  <c:v>11</c:v>
                </c:pt>
                <c:pt idx="41">
                  <c:v>10</c:v>
                </c:pt>
                <c:pt idx="42">
                  <c:v>10</c:v>
                </c:pt>
                <c:pt idx="43">
                  <c:v>13</c:v>
                </c:pt>
                <c:pt idx="44">
                  <c:v>15</c:v>
                </c:pt>
                <c:pt idx="45">
                  <c:v>15</c:v>
                </c:pt>
                <c:pt idx="46">
                  <c:v>17</c:v>
                </c:pt>
                <c:pt idx="47">
                  <c:v>19</c:v>
                </c:pt>
                <c:pt idx="48">
                  <c:v>21</c:v>
                </c:pt>
                <c:pt idx="49">
                  <c:v>24</c:v>
                </c:pt>
                <c:pt idx="50">
                  <c:v>23</c:v>
                </c:pt>
                <c:pt idx="51">
                  <c:v>23</c:v>
                </c:pt>
                <c:pt idx="52">
                  <c:v>24</c:v>
                </c:pt>
                <c:pt idx="53">
                  <c:v>24</c:v>
                </c:pt>
                <c:pt idx="54">
                  <c:v>25</c:v>
                </c:pt>
                <c:pt idx="55">
                  <c:v>26</c:v>
                </c:pt>
                <c:pt idx="56">
                  <c:v>27</c:v>
                </c:pt>
                <c:pt idx="57">
                  <c:v>25</c:v>
                </c:pt>
                <c:pt idx="58">
                  <c:v>24</c:v>
                </c:pt>
                <c:pt idx="59">
                  <c:v>23</c:v>
                </c:pt>
                <c:pt idx="60">
                  <c:v>21</c:v>
                </c:pt>
                <c:pt idx="61">
                  <c:v>19</c:v>
                </c:pt>
                <c:pt idx="62">
                  <c:v>22</c:v>
                </c:pt>
                <c:pt idx="63">
                  <c:v>20</c:v>
                </c:pt>
                <c:pt idx="64">
                  <c:v>22</c:v>
                </c:pt>
                <c:pt idx="65">
                  <c:v>19</c:v>
                </c:pt>
                <c:pt idx="66">
                  <c:v>21</c:v>
                </c:pt>
                <c:pt idx="67">
                  <c:v>21</c:v>
                </c:pt>
                <c:pt idx="68">
                  <c:v>21</c:v>
                </c:pt>
                <c:pt idx="69">
                  <c:v>21</c:v>
                </c:pt>
                <c:pt idx="70">
                  <c:v>22</c:v>
                </c:pt>
                <c:pt idx="71">
                  <c:v>22</c:v>
                </c:pt>
                <c:pt idx="72">
                  <c:v>22</c:v>
                </c:pt>
                <c:pt idx="73">
                  <c:v>22</c:v>
                </c:pt>
                <c:pt idx="74">
                  <c:v>25</c:v>
                </c:pt>
                <c:pt idx="75">
                  <c:v>22</c:v>
                </c:pt>
                <c:pt idx="76">
                  <c:v>19</c:v>
                </c:pt>
                <c:pt idx="77">
                  <c:v>19</c:v>
                </c:pt>
                <c:pt idx="78">
                  <c:v>18</c:v>
                </c:pt>
                <c:pt idx="79">
                  <c:v>17</c:v>
                </c:pt>
                <c:pt idx="80">
                  <c:v>15</c:v>
                </c:pt>
                <c:pt idx="81">
                  <c:v>16</c:v>
                </c:pt>
                <c:pt idx="82">
                  <c:v>15</c:v>
                </c:pt>
                <c:pt idx="83">
                  <c:v>13</c:v>
                </c:pt>
                <c:pt idx="84">
                  <c:v>14</c:v>
                </c:pt>
                <c:pt idx="85">
                  <c:v>14</c:v>
                </c:pt>
                <c:pt idx="86">
                  <c:v>15</c:v>
                </c:pt>
                <c:pt idx="87">
                  <c:v>14</c:v>
                </c:pt>
                <c:pt idx="88">
                  <c:v>12</c:v>
                </c:pt>
                <c:pt idx="89">
                  <c:v>16</c:v>
                </c:pt>
                <c:pt idx="90">
                  <c:v>19</c:v>
                </c:pt>
                <c:pt idx="91">
                  <c:v>20</c:v>
                </c:pt>
                <c:pt idx="92">
                  <c:v>20</c:v>
                </c:pt>
                <c:pt idx="93">
                  <c:v>23</c:v>
                </c:pt>
                <c:pt idx="94">
                  <c:v>24</c:v>
                </c:pt>
                <c:pt idx="95">
                  <c:v>22</c:v>
                </c:pt>
                <c:pt idx="96">
                  <c:v>23</c:v>
                </c:pt>
                <c:pt idx="97">
                  <c:v>22</c:v>
                </c:pt>
                <c:pt idx="98">
                  <c:v>22</c:v>
                </c:pt>
                <c:pt idx="99">
                  <c:v>23</c:v>
                </c:pt>
                <c:pt idx="100">
                  <c:v>26</c:v>
                </c:pt>
                <c:pt idx="101">
                  <c:v>25</c:v>
                </c:pt>
                <c:pt idx="102">
                  <c:v>27</c:v>
                </c:pt>
                <c:pt idx="103">
                  <c:v>26</c:v>
                </c:pt>
                <c:pt idx="104">
                  <c:v>23</c:v>
                </c:pt>
                <c:pt idx="105">
                  <c:v>24</c:v>
                </c:pt>
                <c:pt idx="106">
                  <c:v>24</c:v>
                </c:pt>
                <c:pt idx="107">
                  <c:v>23</c:v>
                </c:pt>
                <c:pt idx="108">
                  <c:v>23</c:v>
                </c:pt>
                <c:pt idx="109">
                  <c:v>21</c:v>
                </c:pt>
                <c:pt idx="110">
                  <c:v>24</c:v>
                </c:pt>
                <c:pt idx="111">
                  <c:v>27</c:v>
                </c:pt>
                <c:pt idx="112">
                  <c:v>27</c:v>
                </c:pt>
                <c:pt idx="113">
                  <c:v>28</c:v>
                </c:pt>
                <c:pt idx="114">
                  <c:v>26</c:v>
                </c:pt>
                <c:pt idx="115">
                  <c:v>26</c:v>
                </c:pt>
                <c:pt idx="116">
                  <c:v>28</c:v>
                </c:pt>
                <c:pt idx="117">
                  <c:v>32</c:v>
                </c:pt>
                <c:pt idx="118">
                  <c:v>35</c:v>
                </c:pt>
                <c:pt idx="119">
                  <c:v>43</c:v>
                </c:pt>
                <c:pt idx="120">
                  <c:v>44</c:v>
                </c:pt>
                <c:pt idx="121">
                  <c:v>48</c:v>
                </c:pt>
                <c:pt idx="122">
                  <c:v>48</c:v>
                </c:pt>
                <c:pt idx="123">
                  <c:v>47</c:v>
                </c:pt>
                <c:pt idx="124">
                  <c:v>46</c:v>
                </c:pt>
                <c:pt idx="125">
                  <c:v>47</c:v>
                </c:pt>
                <c:pt idx="126">
                  <c:v>52</c:v>
                </c:pt>
                <c:pt idx="127">
                  <c:v>55</c:v>
                </c:pt>
                <c:pt idx="128">
                  <c:v>56</c:v>
                </c:pt>
                <c:pt idx="129">
                  <c:v>55</c:v>
                </c:pt>
                <c:pt idx="130">
                  <c:v>49</c:v>
                </c:pt>
                <c:pt idx="131">
                  <c:v>58</c:v>
                </c:pt>
                <c:pt idx="132">
                  <c:v>55</c:v>
                </c:pt>
                <c:pt idx="133">
                  <c:v>58</c:v>
                </c:pt>
                <c:pt idx="134">
                  <c:v>61</c:v>
                </c:pt>
                <c:pt idx="135">
                  <c:v>64</c:v>
                </c:pt>
                <c:pt idx="136">
                  <c:v>70</c:v>
                </c:pt>
                <c:pt idx="137">
                  <c:v>87</c:v>
                </c:pt>
                <c:pt idx="138">
                  <c:v>100</c:v>
                </c:pt>
                <c:pt idx="139">
                  <c:v>108</c:v>
                </c:pt>
                <c:pt idx="140">
                  <c:v>115</c:v>
                </c:pt>
                <c:pt idx="141">
                  <c:v>126</c:v>
                </c:pt>
                <c:pt idx="142">
                  <c:v>138</c:v>
                </c:pt>
                <c:pt idx="143">
                  <c:v>148</c:v>
                </c:pt>
                <c:pt idx="144">
                  <c:v>174</c:v>
                </c:pt>
                <c:pt idx="145">
                  <c:v>181</c:v>
                </c:pt>
                <c:pt idx="146">
                  <c:v>200</c:v>
                </c:pt>
                <c:pt idx="147">
                  <c:v>214</c:v>
                </c:pt>
                <c:pt idx="148">
                  <c:v>244</c:v>
                </c:pt>
                <c:pt idx="149">
                  <c:v>260</c:v>
                </c:pt>
                <c:pt idx="150">
                  <c:v>266</c:v>
                </c:pt>
                <c:pt idx="151">
                  <c:v>305</c:v>
                </c:pt>
                <c:pt idx="152">
                  <c:v>326</c:v>
                </c:pt>
                <c:pt idx="153">
                  <c:v>349</c:v>
                </c:pt>
                <c:pt idx="154">
                  <c:v>363</c:v>
                </c:pt>
                <c:pt idx="155">
                  <c:v>381</c:v>
                </c:pt>
                <c:pt idx="156">
                  <c:v>389</c:v>
                </c:pt>
                <c:pt idx="157">
                  <c:v>397</c:v>
                </c:pt>
                <c:pt idx="158">
                  <c:v>417</c:v>
                </c:pt>
                <c:pt idx="159">
                  <c:v>447</c:v>
                </c:pt>
                <c:pt idx="160">
                  <c:v>464</c:v>
                </c:pt>
                <c:pt idx="161">
                  <c:v>496</c:v>
                </c:pt>
                <c:pt idx="162">
                  <c:v>494</c:v>
                </c:pt>
                <c:pt idx="163">
                  <c:v>529</c:v>
                </c:pt>
                <c:pt idx="164">
                  <c:v>534</c:v>
                </c:pt>
                <c:pt idx="165">
                  <c:v>530</c:v>
                </c:pt>
                <c:pt idx="166">
                  <c:v>557</c:v>
                </c:pt>
                <c:pt idx="167">
                  <c:v>563</c:v>
                </c:pt>
                <c:pt idx="168">
                  <c:v>585</c:v>
                </c:pt>
                <c:pt idx="169">
                  <c:v>629</c:v>
                </c:pt>
                <c:pt idx="170">
                  <c:v>654</c:v>
                </c:pt>
                <c:pt idx="171">
                  <c:v>657</c:v>
                </c:pt>
                <c:pt idx="172">
                  <c:v>653</c:v>
                </c:pt>
                <c:pt idx="173">
                  <c:v>689</c:v>
                </c:pt>
                <c:pt idx="174">
                  <c:v>677</c:v>
                </c:pt>
                <c:pt idx="175">
                  <c:v>692</c:v>
                </c:pt>
                <c:pt idx="176">
                  <c:v>684</c:v>
                </c:pt>
                <c:pt idx="177">
                  <c:v>689</c:v>
                </c:pt>
                <c:pt idx="178">
                  <c:v>703</c:v>
                </c:pt>
                <c:pt idx="179">
                  <c:v>758</c:v>
                </c:pt>
                <c:pt idx="180">
                  <c:v>797</c:v>
                </c:pt>
                <c:pt idx="181">
                  <c:v>848</c:v>
                </c:pt>
                <c:pt idx="182">
                  <c:v>8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7CD-4BA3-857E-B86804E5EE02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28575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1.7754105636927238E-3"/>
                  <c:y val="9.1782611050075675E-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ED7D31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197070572569906"/>
                      <c:h val="4.732494990964000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B$1:$GB$1</c:f>
              <c:strCache>
                <c:ptCount val="183"/>
                <c:pt idx="0">
                  <c:v>03.06.21</c:v>
                </c:pt>
                <c:pt idx="1">
                  <c:v>04.06.21</c:v>
                </c:pt>
                <c:pt idx="2">
                  <c:v>05.06.21</c:v>
                </c:pt>
                <c:pt idx="3">
                  <c:v>06.06.21</c:v>
                </c:pt>
                <c:pt idx="4">
                  <c:v>07.06.21</c:v>
                </c:pt>
                <c:pt idx="5">
                  <c:v>08.06.21</c:v>
                </c:pt>
                <c:pt idx="6">
                  <c:v>09.06.21</c:v>
                </c:pt>
                <c:pt idx="7">
                  <c:v>10.06.21</c:v>
                </c:pt>
                <c:pt idx="8">
                  <c:v>11.06.21</c:v>
                </c:pt>
                <c:pt idx="9">
                  <c:v>12.06.21</c:v>
                </c:pt>
                <c:pt idx="10">
                  <c:v>13.06.21</c:v>
                </c:pt>
                <c:pt idx="11">
                  <c:v>14.06.21</c:v>
                </c:pt>
                <c:pt idx="12">
                  <c:v>15.06.21</c:v>
                </c:pt>
                <c:pt idx="13">
                  <c:v>16.06.21</c:v>
                </c:pt>
                <c:pt idx="14">
                  <c:v>17.06.21</c:v>
                </c:pt>
                <c:pt idx="15">
                  <c:v>18.06.21</c:v>
                </c:pt>
                <c:pt idx="16">
                  <c:v>19.06.21</c:v>
                </c:pt>
                <c:pt idx="17">
                  <c:v>20.06.21</c:v>
                </c:pt>
                <c:pt idx="18">
                  <c:v>21.06.21</c:v>
                </c:pt>
                <c:pt idx="19">
                  <c:v>22.06.21</c:v>
                </c:pt>
                <c:pt idx="20">
                  <c:v>23.06.21</c:v>
                </c:pt>
                <c:pt idx="21">
                  <c:v>24.06.21</c:v>
                </c:pt>
                <c:pt idx="22">
                  <c:v>25.06.21</c:v>
                </c:pt>
                <c:pt idx="23">
                  <c:v>26.06.21</c:v>
                </c:pt>
                <c:pt idx="24">
                  <c:v>27.06.21</c:v>
                </c:pt>
                <c:pt idx="25">
                  <c:v>28.06.21</c:v>
                </c:pt>
                <c:pt idx="26">
                  <c:v>29.06.21</c:v>
                </c:pt>
                <c:pt idx="27">
                  <c:v>30.06.21</c:v>
                </c:pt>
                <c:pt idx="28">
                  <c:v>01.07.21</c:v>
                </c:pt>
                <c:pt idx="29">
                  <c:v>02.07.21</c:v>
                </c:pt>
                <c:pt idx="30">
                  <c:v>03.07.21</c:v>
                </c:pt>
                <c:pt idx="31">
                  <c:v>04.07.21</c:v>
                </c:pt>
                <c:pt idx="32">
                  <c:v>05.07.21</c:v>
                </c:pt>
                <c:pt idx="33">
                  <c:v>06.07.21</c:v>
                </c:pt>
                <c:pt idx="34">
                  <c:v>07.07.21</c:v>
                </c:pt>
                <c:pt idx="35">
                  <c:v>08.07.21</c:v>
                </c:pt>
                <c:pt idx="36">
                  <c:v>09.07.21</c:v>
                </c:pt>
                <c:pt idx="37">
                  <c:v>10.07.21</c:v>
                </c:pt>
                <c:pt idx="38">
                  <c:v>11.07.21</c:v>
                </c:pt>
                <c:pt idx="39">
                  <c:v>12.07.21</c:v>
                </c:pt>
                <c:pt idx="40">
                  <c:v>13.07.21</c:v>
                </c:pt>
                <c:pt idx="41">
                  <c:v>14.07.21</c:v>
                </c:pt>
                <c:pt idx="42">
                  <c:v>15.07.21</c:v>
                </c:pt>
                <c:pt idx="43">
                  <c:v>16.07.21</c:v>
                </c:pt>
                <c:pt idx="44">
                  <c:v>17.07.21</c:v>
                </c:pt>
                <c:pt idx="45">
                  <c:v>18.07.21</c:v>
                </c:pt>
                <c:pt idx="46">
                  <c:v>19.07.21</c:v>
                </c:pt>
                <c:pt idx="47">
                  <c:v>20.07.21</c:v>
                </c:pt>
                <c:pt idx="48">
                  <c:v>21.07.21</c:v>
                </c:pt>
                <c:pt idx="49">
                  <c:v>22.07.21</c:v>
                </c:pt>
                <c:pt idx="50">
                  <c:v>23.07.21</c:v>
                </c:pt>
                <c:pt idx="51">
                  <c:v>24.07.21</c:v>
                </c:pt>
                <c:pt idx="52">
                  <c:v>25.07.21</c:v>
                </c:pt>
                <c:pt idx="53">
                  <c:v>26.07.21</c:v>
                </c:pt>
                <c:pt idx="54">
                  <c:v>27.07.21</c:v>
                </c:pt>
                <c:pt idx="55">
                  <c:v>28.07.21</c:v>
                </c:pt>
                <c:pt idx="56">
                  <c:v>29.07.21</c:v>
                </c:pt>
                <c:pt idx="57">
                  <c:v>30.07.21</c:v>
                </c:pt>
                <c:pt idx="58">
                  <c:v>31.07.21</c:v>
                </c:pt>
                <c:pt idx="59">
                  <c:v>01.08.21</c:v>
                </c:pt>
                <c:pt idx="60">
                  <c:v>02.08.21</c:v>
                </c:pt>
                <c:pt idx="61">
                  <c:v>03.08.21</c:v>
                </c:pt>
                <c:pt idx="62">
                  <c:v>04.08.21</c:v>
                </c:pt>
                <c:pt idx="63">
                  <c:v>05.08.21</c:v>
                </c:pt>
                <c:pt idx="64">
                  <c:v>06.08.21</c:v>
                </c:pt>
                <c:pt idx="65">
                  <c:v>07.08.21</c:v>
                </c:pt>
                <c:pt idx="66">
                  <c:v>08.08.21</c:v>
                </c:pt>
                <c:pt idx="67">
                  <c:v>09.08.21</c:v>
                </c:pt>
                <c:pt idx="68">
                  <c:v>10.08.21</c:v>
                </c:pt>
                <c:pt idx="69">
                  <c:v>11.08.21</c:v>
                </c:pt>
                <c:pt idx="70">
                  <c:v>12.08.21</c:v>
                </c:pt>
                <c:pt idx="71">
                  <c:v>13.08.21</c:v>
                </c:pt>
                <c:pt idx="72">
                  <c:v>14.08.21</c:v>
                </c:pt>
                <c:pt idx="73">
                  <c:v>15.08.21</c:v>
                </c:pt>
                <c:pt idx="74">
                  <c:v>16.08.21</c:v>
                </c:pt>
                <c:pt idx="75">
                  <c:v>17.08.21</c:v>
                </c:pt>
                <c:pt idx="76">
                  <c:v>18.08.21</c:v>
                </c:pt>
                <c:pt idx="77">
                  <c:v>19.08.21</c:v>
                </c:pt>
                <c:pt idx="78">
                  <c:v>20.08.21</c:v>
                </c:pt>
                <c:pt idx="79">
                  <c:v>21.08.21</c:v>
                </c:pt>
                <c:pt idx="80">
                  <c:v>22.08.21</c:v>
                </c:pt>
                <c:pt idx="81">
                  <c:v>23.08.21</c:v>
                </c:pt>
                <c:pt idx="82">
                  <c:v>24.08.21</c:v>
                </c:pt>
                <c:pt idx="83">
                  <c:v>25.08.21</c:v>
                </c:pt>
                <c:pt idx="84">
                  <c:v>26.08.21</c:v>
                </c:pt>
                <c:pt idx="85">
                  <c:v>27.08.21</c:v>
                </c:pt>
                <c:pt idx="86">
                  <c:v>28.08.21</c:v>
                </c:pt>
                <c:pt idx="87">
                  <c:v>29.08.21</c:v>
                </c:pt>
                <c:pt idx="88">
                  <c:v>30.08.21</c:v>
                </c:pt>
                <c:pt idx="89">
                  <c:v>31.08.21</c:v>
                </c:pt>
                <c:pt idx="90">
                  <c:v>01.09.21</c:v>
                </c:pt>
                <c:pt idx="91">
                  <c:v>02.09.21</c:v>
                </c:pt>
                <c:pt idx="92">
                  <c:v>03.09.21</c:v>
                </c:pt>
                <c:pt idx="93">
                  <c:v>04.09.21</c:v>
                </c:pt>
                <c:pt idx="94">
                  <c:v>05.09.21</c:v>
                </c:pt>
                <c:pt idx="95">
                  <c:v>06.09.21</c:v>
                </c:pt>
                <c:pt idx="96">
                  <c:v>07.09.21</c:v>
                </c:pt>
                <c:pt idx="97">
                  <c:v>08.09.21</c:v>
                </c:pt>
                <c:pt idx="98">
                  <c:v>09.09.21</c:v>
                </c:pt>
                <c:pt idx="99">
                  <c:v>10.09.21</c:v>
                </c:pt>
                <c:pt idx="100">
                  <c:v>11.09.21</c:v>
                </c:pt>
                <c:pt idx="101">
                  <c:v>12.09.21</c:v>
                </c:pt>
                <c:pt idx="102">
                  <c:v>13.09.21</c:v>
                </c:pt>
                <c:pt idx="103">
                  <c:v>14.09.21</c:v>
                </c:pt>
                <c:pt idx="104">
                  <c:v>15.09.21</c:v>
                </c:pt>
                <c:pt idx="105">
                  <c:v>16.09.21</c:v>
                </c:pt>
                <c:pt idx="106">
                  <c:v>17.09.21</c:v>
                </c:pt>
                <c:pt idx="107">
                  <c:v>18.09.21</c:v>
                </c:pt>
                <c:pt idx="108">
                  <c:v>19.09.21</c:v>
                </c:pt>
                <c:pt idx="109">
                  <c:v>20.09.21</c:v>
                </c:pt>
                <c:pt idx="110">
                  <c:v>21.09.21</c:v>
                </c:pt>
                <c:pt idx="111">
                  <c:v>22.09.21</c:v>
                </c:pt>
                <c:pt idx="112">
                  <c:v>23.09.21</c:v>
                </c:pt>
                <c:pt idx="113">
                  <c:v>24.09.21</c:v>
                </c:pt>
                <c:pt idx="114">
                  <c:v>25.09.21</c:v>
                </c:pt>
                <c:pt idx="115">
                  <c:v>26.09.21</c:v>
                </c:pt>
                <c:pt idx="116">
                  <c:v>27.09.21</c:v>
                </c:pt>
                <c:pt idx="117">
                  <c:v>28.09.21</c:v>
                </c:pt>
                <c:pt idx="118">
                  <c:v>29.09.21</c:v>
                </c:pt>
                <c:pt idx="119">
                  <c:v>30.09.21</c:v>
                </c:pt>
                <c:pt idx="120">
                  <c:v>01.10.21</c:v>
                </c:pt>
                <c:pt idx="121">
                  <c:v>02.10.21</c:v>
                </c:pt>
                <c:pt idx="122">
                  <c:v>03.10.21</c:v>
                </c:pt>
                <c:pt idx="123">
                  <c:v>04.10.21</c:v>
                </c:pt>
                <c:pt idx="124">
                  <c:v>05.10.21</c:v>
                </c:pt>
                <c:pt idx="125">
                  <c:v>06.10.21</c:v>
                </c:pt>
                <c:pt idx="126">
                  <c:v>07.10.21</c:v>
                </c:pt>
                <c:pt idx="127">
                  <c:v>08.10.21</c:v>
                </c:pt>
                <c:pt idx="128">
                  <c:v>09.10.21</c:v>
                </c:pt>
                <c:pt idx="129">
                  <c:v>10.10.21</c:v>
                </c:pt>
                <c:pt idx="130">
                  <c:v>11.10.21</c:v>
                </c:pt>
                <c:pt idx="131">
                  <c:v>12.10.21</c:v>
                </c:pt>
                <c:pt idx="132">
                  <c:v>13.10.21</c:v>
                </c:pt>
                <c:pt idx="133">
                  <c:v>14.10.21</c:v>
                </c:pt>
                <c:pt idx="134">
                  <c:v>15.10.21</c:v>
                </c:pt>
                <c:pt idx="135">
                  <c:v>16.10.21</c:v>
                </c:pt>
                <c:pt idx="136">
                  <c:v>17.10.21</c:v>
                </c:pt>
                <c:pt idx="137">
                  <c:v>18.10.21</c:v>
                </c:pt>
                <c:pt idx="138">
                  <c:v>19.10.21</c:v>
                </c:pt>
                <c:pt idx="139">
                  <c:v>20.10.21</c:v>
                </c:pt>
                <c:pt idx="140">
                  <c:v>21.10.21</c:v>
                </c:pt>
                <c:pt idx="141">
                  <c:v>22.10.21</c:v>
                </c:pt>
                <c:pt idx="142">
                  <c:v>23.10.21</c:v>
                </c:pt>
                <c:pt idx="143">
                  <c:v>24.10.21</c:v>
                </c:pt>
                <c:pt idx="144">
                  <c:v>25.10.21</c:v>
                </c:pt>
                <c:pt idx="145">
                  <c:v>26.10.21</c:v>
                </c:pt>
                <c:pt idx="146">
                  <c:v>27.10.21</c:v>
                </c:pt>
                <c:pt idx="147">
                  <c:v>28.10.21</c:v>
                </c:pt>
                <c:pt idx="148">
                  <c:v>29.10.21</c:v>
                </c:pt>
                <c:pt idx="149">
                  <c:v>30.10.21</c:v>
                </c:pt>
                <c:pt idx="150">
                  <c:v>31.10.21</c:v>
                </c:pt>
                <c:pt idx="151">
                  <c:v>01.11.21</c:v>
                </c:pt>
                <c:pt idx="152">
                  <c:v>02.11.21</c:v>
                </c:pt>
                <c:pt idx="153">
                  <c:v>03.11.21</c:v>
                </c:pt>
                <c:pt idx="154">
                  <c:v>04.11.21</c:v>
                </c:pt>
                <c:pt idx="155">
                  <c:v>05.11.21</c:v>
                </c:pt>
                <c:pt idx="156">
                  <c:v>06.11.21</c:v>
                </c:pt>
                <c:pt idx="157">
                  <c:v>07.11.21</c:v>
                </c:pt>
                <c:pt idx="158">
                  <c:v>08.11.21</c:v>
                </c:pt>
                <c:pt idx="159">
                  <c:v>09.11.21</c:v>
                </c:pt>
                <c:pt idx="160">
                  <c:v>10.11.21</c:v>
                </c:pt>
                <c:pt idx="161">
                  <c:v>11.11.21</c:v>
                </c:pt>
                <c:pt idx="162">
                  <c:v>12.11.21</c:v>
                </c:pt>
                <c:pt idx="163">
                  <c:v>13.11.21</c:v>
                </c:pt>
                <c:pt idx="164">
                  <c:v>14.11.21</c:v>
                </c:pt>
                <c:pt idx="165">
                  <c:v>15.11.21</c:v>
                </c:pt>
                <c:pt idx="166">
                  <c:v>16.11.21</c:v>
                </c:pt>
                <c:pt idx="167">
                  <c:v>17.11.21</c:v>
                </c:pt>
                <c:pt idx="168">
                  <c:v>18.11.21</c:v>
                </c:pt>
                <c:pt idx="169">
                  <c:v>19.11.21</c:v>
                </c:pt>
                <c:pt idx="170">
                  <c:v>20.11.21</c:v>
                </c:pt>
                <c:pt idx="171">
                  <c:v>21.11.21</c:v>
                </c:pt>
                <c:pt idx="172">
                  <c:v>22.11.21</c:v>
                </c:pt>
                <c:pt idx="173">
                  <c:v>23.11.21</c:v>
                </c:pt>
                <c:pt idx="174">
                  <c:v>24.11.21</c:v>
                </c:pt>
                <c:pt idx="175">
                  <c:v>25.11.21</c:v>
                </c:pt>
                <c:pt idx="176">
                  <c:v>26.11.21</c:v>
                </c:pt>
                <c:pt idx="177">
                  <c:v>27.11.21</c:v>
                </c:pt>
                <c:pt idx="178">
                  <c:v>28.11.21</c:v>
                </c:pt>
                <c:pt idx="179">
                  <c:v>29.11.21</c:v>
                </c:pt>
                <c:pt idx="180">
                  <c:v>30.11.21</c:v>
                </c:pt>
                <c:pt idx="181">
                  <c:v>01.12.21</c:v>
                </c:pt>
                <c:pt idx="182">
                  <c:v>02.12.21</c:v>
                </c:pt>
              </c:strCache>
            </c:strRef>
          </c:cat>
          <c:val>
            <c:numRef>
              <c:f>List1!$B$3:$GB$3</c:f>
              <c:numCache>
                <c:formatCode>General</c:formatCode>
                <c:ptCount val="183"/>
                <c:pt idx="0">
                  <c:v>49</c:v>
                </c:pt>
                <c:pt idx="1">
                  <c:v>46</c:v>
                </c:pt>
                <c:pt idx="2">
                  <c:v>44</c:v>
                </c:pt>
                <c:pt idx="3">
                  <c:v>45</c:v>
                </c:pt>
                <c:pt idx="4">
                  <c:v>42</c:v>
                </c:pt>
                <c:pt idx="5">
                  <c:v>37</c:v>
                </c:pt>
                <c:pt idx="6">
                  <c:v>34</c:v>
                </c:pt>
                <c:pt idx="7">
                  <c:v>34</c:v>
                </c:pt>
                <c:pt idx="8">
                  <c:v>30</c:v>
                </c:pt>
                <c:pt idx="9">
                  <c:v>31</c:v>
                </c:pt>
                <c:pt idx="10">
                  <c:v>33</c:v>
                </c:pt>
                <c:pt idx="11">
                  <c:v>31</c:v>
                </c:pt>
                <c:pt idx="12">
                  <c:v>29</c:v>
                </c:pt>
                <c:pt idx="13">
                  <c:v>29</c:v>
                </c:pt>
                <c:pt idx="14">
                  <c:v>28</c:v>
                </c:pt>
                <c:pt idx="15">
                  <c:v>29</c:v>
                </c:pt>
                <c:pt idx="16">
                  <c:v>30</c:v>
                </c:pt>
                <c:pt idx="17">
                  <c:v>30</c:v>
                </c:pt>
                <c:pt idx="18">
                  <c:v>29</c:v>
                </c:pt>
                <c:pt idx="19">
                  <c:v>27</c:v>
                </c:pt>
                <c:pt idx="20">
                  <c:v>28</c:v>
                </c:pt>
                <c:pt idx="21">
                  <c:v>28</c:v>
                </c:pt>
                <c:pt idx="22">
                  <c:v>27</c:v>
                </c:pt>
                <c:pt idx="23">
                  <c:v>27</c:v>
                </c:pt>
                <c:pt idx="24">
                  <c:v>25</c:v>
                </c:pt>
                <c:pt idx="25">
                  <c:v>26</c:v>
                </c:pt>
                <c:pt idx="26">
                  <c:v>28</c:v>
                </c:pt>
                <c:pt idx="27">
                  <c:v>27</c:v>
                </c:pt>
                <c:pt idx="28">
                  <c:v>26</c:v>
                </c:pt>
                <c:pt idx="29">
                  <c:v>26</c:v>
                </c:pt>
                <c:pt idx="30">
                  <c:v>26</c:v>
                </c:pt>
                <c:pt idx="31">
                  <c:v>27</c:v>
                </c:pt>
                <c:pt idx="32">
                  <c:v>31</c:v>
                </c:pt>
                <c:pt idx="33">
                  <c:v>31</c:v>
                </c:pt>
                <c:pt idx="34">
                  <c:v>31</c:v>
                </c:pt>
                <c:pt idx="35">
                  <c:v>30</c:v>
                </c:pt>
                <c:pt idx="36">
                  <c:v>30</c:v>
                </c:pt>
                <c:pt idx="37">
                  <c:v>30</c:v>
                </c:pt>
                <c:pt idx="38">
                  <c:v>29</c:v>
                </c:pt>
                <c:pt idx="39">
                  <c:v>29</c:v>
                </c:pt>
                <c:pt idx="40">
                  <c:v>31</c:v>
                </c:pt>
                <c:pt idx="41">
                  <c:v>33</c:v>
                </c:pt>
                <c:pt idx="42">
                  <c:v>34</c:v>
                </c:pt>
                <c:pt idx="43">
                  <c:v>32</c:v>
                </c:pt>
                <c:pt idx="44">
                  <c:v>31</c:v>
                </c:pt>
                <c:pt idx="45">
                  <c:v>31</c:v>
                </c:pt>
                <c:pt idx="46">
                  <c:v>33</c:v>
                </c:pt>
                <c:pt idx="47">
                  <c:v>33</c:v>
                </c:pt>
                <c:pt idx="48">
                  <c:v>36</c:v>
                </c:pt>
                <c:pt idx="49">
                  <c:v>36</c:v>
                </c:pt>
                <c:pt idx="50">
                  <c:v>39</c:v>
                </c:pt>
                <c:pt idx="51">
                  <c:v>40</c:v>
                </c:pt>
                <c:pt idx="52">
                  <c:v>41</c:v>
                </c:pt>
                <c:pt idx="53">
                  <c:v>40</c:v>
                </c:pt>
                <c:pt idx="54">
                  <c:v>38</c:v>
                </c:pt>
                <c:pt idx="55">
                  <c:v>37</c:v>
                </c:pt>
                <c:pt idx="56">
                  <c:v>36</c:v>
                </c:pt>
                <c:pt idx="57">
                  <c:v>37</c:v>
                </c:pt>
                <c:pt idx="58">
                  <c:v>37</c:v>
                </c:pt>
                <c:pt idx="59">
                  <c:v>37</c:v>
                </c:pt>
                <c:pt idx="60">
                  <c:v>33</c:v>
                </c:pt>
                <c:pt idx="61">
                  <c:v>35</c:v>
                </c:pt>
                <c:pt idx="62">
                  <c:v>33</c:v>
                </c:pt>
                <c:pt idx="63">
                  <c:v>32</c:v>
                </c:pt>
                <c:pt idx="64">
                  <c:v>29</c:v>
                </c:pt>
                <c:pt idx="65">
                  <c:v>28</c:v>
                </c:pt>
                <c:pt idx="66">
                  <c:v>25</c:v>
                </c:pt>
                <c:pt idx="67">
                  <c:v>27</c:v>
                </c:pt>
                <c:pt idx="68">
                  <c:v>29</c:v>
                </c:pt>
                <c:pt idx="69">
                  <c:v>31</c:v>
                </c:pt>
                <c:pt idx="70">
                  <c:v>31</c:v>
                </c:pt>
                <c:pt idx="71">
                  <c:v>33</c:v>
                </c:pt>
                <c:pt idx="72">
                  <c:v>34</c:v>
                </c:pt>
                <c:pt idx="73">
                  <c:v>35</c:v>
                </c:pt>
                <c:pt idx="74">
                  <c:v>37</c:v>
                </c:pt>
                <c:pt idx="75">
                  <c:v>39</c:v>
                </c:pt>
                <c:pt idx="76">
                  <c:v>40</c:v>
                </c:pt>
                <c:pt idx="77">
                  <c:v>40</c:v>
                </c:pt>
                <c:pt idx="78">
                  <c:v>40</c:v>
                </c:pt>
                <c:pt idx="79">
                  <c:v>40</c:v>
                </c:pt>
                <c:pt idx="80">
                  <c:v>40</c:v>
                </c:pt>
                <c:pt idx="81">
                  <c:v>42</c:v>
                </c:pt>
                <c:pt idx="82">
                  <c:v>43</c:v>
                </c:pt>
                <c:pt idx="83">
                  <c:v>40</c:v>
                </c:pt>
                <c:pt idx="84">
                  <c:v>41</c:v>
                </c:pt>
                <c:pt idx="85">
                  <c:v>40</c:v>
                </c:pt>
                <c:pt idx="86">
                  <c:v>40</c:v>
                </c:pt>
                <c:pt idx="87">
                  <c:v>39</c:v>
                </c:pt>
                <c:pt idx="88">
                  <c:v>34</c:v>
                </c:pt>
                <c:pt idx="89">
                  <c:v>35</c:v>
                </c:pt>
                <c:pt idx="90">
                  <c:v>33</c:v>
                </c:pt>
                <c:pt idx="91">
                  <c:v>38</c:v>
                </c:pt>
                <c:pt idx="92">
                  <c:v>44</c:v>
                </c:pt>
                <c:pt idx="93">
                  <c:v>45</c:v>
                </c:pt>
                <c:pt idx="94">
                  <c:v>43</c:v>
                </c:pt>
                <c:pt idx="95">
                  <c:v>41</c:v>
                </c:pt>
                <c:pt idx="96">
                  <c:v>47</c:v>
                </c:pt>
                <c:pt idx="97">
                  <c:v>47</c:v>
                </c:pt>
                <c:pt idx="98">
                  <c:v>49</c:v>
                </c:pt>
                <c:pt idx="99">
                  <c:v>49</c:v>
                </c:pt>
                <c:pt idx="100">
                  <c:v>48</c:v>
                </c:pt>
                <c:pt idx="101">
                  <c:v>49</c:v>
                </c:pt>
                <c:pt idx="102">
                  <c:v>50</c:v>
                </c:pt>
                <c:pt idx="103">
                  <c:v>53</c:v>
                </c:pt>
                <c:pt idx="104">
                  <c:v>55</c:v>
                </c:pt>
                <c:pt idx="105">
                  <c:v>57</c:v>
                </c:pt>
                <c:pt idx="106">
                  <c:v>56</c:v>
                </c:pt>
                <c:pt idx="107">
                  <c:v>58</c:v>
                </c:pt>
                <c:pt idx="108">
                  <c:v>59</c:v>
                </c:pt>
                <c:pt idx="109">
                  <c:v>65</c:v>
                </c:pt>
                <c:pt idx="110">
                  <c:v>67</c:v>
                </c:pt>
                <c:pt idx="111">
                  <c:v>72</c:v>
                </c:pt>
                <c:pt idx="112">
                  <c:v>75</c:v>
                </c:pt>
                <c:pt idx="113">
                  <c:v>82</c:v>
                </c:pt>
                <c:pt idx="114">
                  <c:v>89</c:v>
                </c:pt>
                <c:pt idx="115">
                  <c:v>91</c:v>
                </c:pt>
                <c:pt idx="116">
                  <c:v>92</c:v>
                </c:pt>
                <c:pt idx="117">
                  <c:v>97</c:v>
                </c:pt>
                <c:pt idx="118">
                  <c:v>103</c:v>
                </c:pt>
                <c:pt idx="119">
                  <c:v>111</c:v>
                </c:pt>
                <c:pt idx="120">
                  <c:v>113</c:v>
                </c:pt>
                <c:pt idx="121">
                  <c:v>114</c:v>
                </c:pt>
                <c:pt idx="122">
                  <c:v>120</c:v>
                </c:pt>
                <c:pt idx="123">
                  <c:v>119</c:v>
                </c:pt>
                <c:pt idx="124">
                  <c:v>127</c:v>
                </c:pt>
                <c:pt idx="125">
                  <c:v>131</c:v>
                </c:pt>
                <c:pt idx="126">
                  <c:v>133</c:v>
                </c:pt>
                <c:pt idx="127">
                  <c:v>133</c:v>
                </c:pt>
                <c:pt idx="128">
                  <c:v>133</c:v>
                </c:pt>
                <c:pt idx="129">
                  <c:v>131</c:v>
                </c:pt>
                <c:pt idx="130">
                  <c:v>142</c:v>
                </c:pt>
                <c:pt idx="131">
                  <c:v>154</c:v>
                </c:pt>
                <c:pt idx="132">
                  <c:v>155</c:v>
                </c:pt>
                <c:pt idx="133">
                  <c:v>165</c:v>
                </c:pt>
                <c:pt idx="134">
                  <c:v>175</c:v>
                </c:pt>
                <c:pt idx="135">
                  <c:v>180</c:v>
                </c:pt>
                <c:pt idx="136">
                  <c:v>183</c:v>
                </c:pt>
                <c:pt idx="137">
                  <c:v>205</c:v>
                </c:pt>
                <c:pt idx="138">
                  <c:v>216</c:v>
                </c:pt>
                <c:pt idx="139">
                  <c:v>232</c:v>
                </c:pt>
                <c:pt idx="140">
                  <c:v>270</c:v>
                </c:pt>
                <c:pt idx="141">
                  <c:v>297</c:v>
                </c:pt>
                <c:pt idx="142">
                  <c:v>326</c:v>
                </c:pt>
                <c:pt idx="143">
                  <c:v>329</c:v>
                </c:pt>
                <c:pt idx="144">
                  <c:v>373</c:v>
                </c:pt>
                <c:pt idx="145">
                  <c:v>419</c:v>
                </c:pt>
                <c:pt idx="146">
                  <c:v>470</c:v>
                </c:pt>
                <c:pt idx="147">
                  <c:v>484</c:v>
                </c:pt>
                <c:pt idx="148">
                  <c:v>542</c:v>
                </c:pt>
                <c:pt idx="149">
                  <c:v>589</c:v>
                </c:pt>
                <c:pt idx="150">
                  <c:v>616</c:v>
                </c:pt>
                <c:pt idx="151">
                  <c:v>678</c:v>
                </c:pt>
                <c:pt idx="152">
                  <c:v>759</c:v>
                </c:pt>
                <c:pt idx="153">
                  <c:v>834</c:v>
                </c:pt>
                <c:pt idx="154">
                  <c:v>877</c:v>
                </c:pt>
                <c:pt idx="155">
                  <c:v>951</c:v>
                </c:pt>
                <c:pt idx="156">
                  <c:v>1007</c:v>
                </c:pt>
                <c:pt idx="157">
                  <c:v>1009</c:v>
                </c:pt>
                <c:pt idx="158">
                  <c:v>1048</c:v>
                </c:pt>
                <c:pt idx="159">
                  <c:v>1126</c:v>
                </c:pt>
                <c:pt idx="160">
                  <c:v>1227</c:v>
                </c:pt>
                <c:pt idx="161">
                  <c:v>1281</c:v>
                </c:pt>
                <c:pt idx="162">
                  <c:v>1350</c:v>
                </c:pt>
                <c:pt idx="163">
                  <c:v>1387</c:v>
                </c:pt>
                <c:pt idx="164">
                  <c:v>1394</c:v>
                </c:pt>
                <c:pt idx="165">
                  <c:v>1426</c:v>
                </c:pt>
                <c:pt idx="166">
                  <c:v>1535</c:v>
                </c:pt>
                <c:pt idx="167">
                  <c:v>1535</c:v>
                </c:pt>
                <c:pt idx="168">
                  <c:v>1590</c:v>
                </c:pt>
                <c:pt idx="169">
                  <c:v>1689</c:v>
                </c:pt>
                <c:pt idx="170">
                  <c:v>1783</c:v>
                </c:pt>
                <c:pt idx="171">
                  <c:v>1829</c:v>
                </c:pt>
                <c:pt idx="172">
                  <c:v>1844</c:v>
                </c:pt>
                <c:pt idx="173">
                  <c:v>1950</c:v>
                </c:pt>
                <c:pt idx="174">
                  <c:v>1936</c:v>
                </c:pt>
                <c:pt idx="175">
                  <c:v>2023</c:v>
                </c:pt>
                <c:pt idx="176">
                  <c:v>2057</c:v>
                </c:pt>
                <c:pt idx="177">
                  <c:v>2093</c:v>
                </c:pt>
                <c:pt idx="178">
                  <c:v>2115</c:v>
                </c:pt>
                <c:pt idx="179">
                  <c:v>2301</c:v>
                </c:pt>
                <c:pt idx="180">
                  <c:v>2449</c:v>
                </c:pt>
                <c:pt idx="181">
                  <c:v>2593</c:v>
                </c:pt>
                <c:pt idx="182">
                  <c:v>27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7CD-4BA3-857E-B86804E5EE02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-4.662547463082748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B$1</c:f>
              <c:strCache>
                <c:ptCount val="183"/>
                <c:pt idx="0">
                  <c:v>03.06.21</c:v>
                </c:pt>
                <c:pt idx="1">
                  <c:v>04.06.21</c:v>
                </c:pt>
                <c:pt idx="2">
                  <c:v>05.06.21</c:v>
                </c:pt>
                <c:pt idx="3">
                  <c:v>06.06.21</c:v>
                </c:pt>
                <c:pt idx="4">
                  <c:v>07.06.21</c:v>
                </c:pt>
                <c:pt idx="5">
                  <c:v>08.06.21</c:v>
                </c:pt>
                <c:pt idx="6">
                  <c:v>09.06.21</c:v>
                </c:pt>
                <c:pt idx="7">
                  <c:v>10.06.21</c:v>
                </c:pt>
                <c:pt idx="8">
                  <c:v>11.06.21</c:v>
                </c:pt>
                <c:pt idx="9">
                  <c:v>12.06.21</c:v>
                </c:pt>
                <c:pt idx="10">
                  <c:v>13.06.21</c:v>
                </c:pt>
                <c:pt idx="11">
                  <c:v>14.06.21</c:v>
                </c:pt>
                <c:pt idx="12">
                  <c:v>15.06.21</c:v>
                </c:pt>
                <c:pt idx="13">
                  <c:v>16.06.21</c:v>
                </c:pt>
                <c:pt idx="14">
                  <c:v>17.06.21</c:v>
                </c:pt>
                <c:pt idx="15">
                  <c:v>18.06.21</c:v>
                </c:pt>
                <c:pt idx="16">
                  <c:v>19.06.21</c:v>
                </c:pt>
                <c:pt idx="17">
                  <c:v>20.06.21</c:v>
                </c:pt>
                <c:pt idx="18">
                  <c:v>21.06.21</c:v>
                </c:pt>
                <c:pt idx="19">
                  <c:v>22.06.21</c:v>
                </c:pt>
                <c:pt idx="20">
                  <c:v>23.06.21</c:v>
                </c:pt>
                <c:pt idx="21">
                  <c:v>24.06.21</c:v>
                </c:pt>
                <c:pt idx="22">
                  <c:v>25.06.21</c:v>
                </c:pt>
                <c:pt idx="23">
                  <c:v>26.06.21</c:v>
                </c:pt>
                <c:pt idx="24">
                  <c:v>27.06.21</c:v>
                </c:pt>
                <c:pt idx="25">
                  <c:v>28.06.21</c:v>
                </c:pt>
                <c:pt idx="26">
                  <c:v>29.06.21</c:v>
                </c:pt>
                <c:pt idx="27">
                  <c:v>30.06.21</c:v>
                </c:pt>
                <c:pt idx="28">
                  <c:v>01.07.21</c:v>
                </c:pt>
                <c:pt idx="29">
                  <c:v>02.07.21</c:v>
                </c:pt>
                <c:pt idx="30">
                  <c:v>03.07.21</c:v>
                </c:pt>
                <c:pt idx="31">
                  <c:v>04.07.21</c:v>
                </c:pt>
                <c:pt idx="32">
                  <c:v>05.07.21</c:v>
                </c:pt>
                <c:pt idx="33">
                  <c:v>06.07.21</c:v>
                </c:pt>
                <c:pt idx="34">
                  <c:v>07.07.21</c:v>
                </c:pt>
                <c:pt idx="35">
                  <c:v>08.07.21</c:v>
                </c:pt>
                <c:pt idx="36">
                  <c:v>09.07.21</c:v>
                </c:pt>
                <c:pt idx="37">
                  <c:v>10.07.21</c:v>
                </c:pt>
                <c:pt idx="38">
                  <c:v>11.07.21</c:v>
                </c:pt>
                <c:pt idx="39">
                  <c:v>12.07.21</c:v>
                </c:pt>
                <c:pt idx="40">
                  <c:v>13.07.21</c:v>
                </c:pt>
                <c:pt idx="41">
                  <c:v>14.07.21</c:v>
                </c:pt>
                <c:pt idx="42">
                  <c:v>15.07.21</c:v>
                </c:pt>
                <c:pt idx="43">
                  <c:v>16.07.21</c:v>
                </c:pt>
                <c:pt idx="44">
                  <c:v>17.07.21</c:v>
                </c:pt>
                <c:pt idx="45">
                  <c:v>18.07.21</c:v>
                </c:pt>
                <c:pt idx="46">
                  <c:v>19.07.21</c:v>
                </c:pt>
                <c:pt idx="47">
                  <c:v>20.07.21</c:v>
                </c:pt>
                <c:pt idx="48">
                  <c:v>21.07.21</c:v>
                </c:pt>
                <c:pt idx="49">
                  <c:v>22.07.21</c:v>
                </c:pt>
                <c:pt idx="50">
                  <c:v>23.07.21</c:v>
                </c:pt>
                <c:pt idx="51">
                  <c:v>24.07.21</c:v>
                </c:pt>
                <c:pt idx="52">
                  <c:v>25.07.21</c:v>
                </c:pt>
                <c:pt idx="53">
                  <c:v>26.07.21</c:v>
                </c:pt>
                <c:pt idx="54">
                  <c:v>27.07.21</c:v>
                </c:pt>
                <c:pt idx="55">
                  <c:v>28.07.21</c:v>
                </c:pt>
                <c:pt idx="56">
                  <c:v>29.07.21</c:v>
                </c:pt>
                <c:pt idx="57">
                  <c:v>30.07.21</c:v>
                </c:pt>
                <c:pt idx="58">
                  <c:v>31.07.21</c:v>
                </c:pt>
                <c:pt idx="59">
                  <c:v>01.08.21</c:v>
                </c:pt>
                <c:pt idx="60">
                  <c:v>02.08.21</c:v>
                </c:pt>
                <c:pt idx="61">
                  <c:v>03.08.21</c:v>
                </c:pt>
                <c:pt idx="62">
                  <c:v>04.08.21</c:v>
                </c:pt>
                <c:pt idx="63">
                  <c:v>05.08.21</c:v>
                </c:pt>
                <c:pt idx="64">
                  <c:v>06.08.21</c:v>
                </c:pt>
                <c:pt idx="65">
                  <c:v>07.08.21</c:v>
                </c:pt>
                <c:pt idx="66">
                  <c:v>08.08.21</c:v>
                </c:pt>
                <c:pt idx="67">
                  <c:v>09.08.21</c:v>
                </c:pt>
                <c:pt idx="68">
                  <c:v>10.08.21</c:v>
                </c:pt>
                <c:pt idx="69">
                  <c:v>11.08.21</c:v>
                </c:pt>
                <c:pt idx="70">
                  <c:v>12.08.21</c:v>
                </c:pt>
                <c:pt idx="71">
                  <c:v>13.08.21</c:v>
                </c:pt>
                <c:pt idx="72">
                  <c:v>14.08.21</c:v>
                </c:pt>
                <c:pt idx="73">
                  <c:v>15.08.21</c:v>
                </c:pt>
                <c:pt idx="74">
                  <c:v>16.08.21</c:v>
                </c:pt>
                <c:pt idx="75">
                  <c:v>17.08.21</c:v>
                </c:pt>
                <c:pt idx="76">
                  <c:v>18.08.21</c:v>
                </c:pt>
                <c:pt idx="77">
                  <c:v>19.08.21</c:v>
                </c:pt>
                <c:pt idx="78">
                  <c:v>20.08.21</c:v>
                </c:pt>
                <c:pt idx="79">
                  <c:v>21.08.21</c:v>
                </c:pt>
                <c:pt idx="80">
                  <c:v>22.08.21</c:v>
                </c:pt>
                <c:pt idx="81">
                  <c:v>23.08.21</c:v>
                </c:pt>
                <c:pt idx="82">
                  <c:v>24.08.21</c:v>
                </c:pt>
                <c:pt idx="83">
                  <c:v>25.08.21</c:v>
                </c:pt>
                <c:pt idx="84">
                  <c:v>26.08.21</c:v>
                </c:pt>
                <c:pt idx="85">
                  <c:v>27.08.21</c:v>
                </c:pt>
                <c:pt idx="86">
                  <c:v>28.08.21</c:v>
                </c:pt>
                <c:pt idx="87">
                  <c:v>29.08.21</c:v>
                </c:pt>
                <c:pt idx="88">
                  <c:v>30.08.21</c:v>
                </c:pt>
                <c:pt idx="89">
                  <c:v>31.08.21</c:v>
                </c:pt>
                <c:pt idx="90">
                  <c:v>01.09.21</c:v>
                </c:pt>
                <c:pt idx="91">
                  <c:v>02.09.21</c:v>
                </c:pt>
                <c:pt idx="92">
                  <c:v>03.09.21</c:v>
                </c:pt>
                <c:pt idx="93">
                  <c:v>04.09.21</c:v>
                </c:pt>
                <c:pt idx="94">
                  <c:v>05.09.21</c:v>
                </c:pt>
                <c:pt idx="95">
                  <c:v>06.09.21</c:v>
                </c:pt>
                <c:pt idx="96">
                  <c:v>07.09.21</c:v>
                </c:pt>
                <c:pt idx="97">
                  <c:v>08.09.21</c:v>
                </c:pt>
                <c:pt idx="98">
                  <c:v>09.09.21</c:v>
                </c:pt>
                <c:pt idx="99">
                  <c:v>10.09.21</c:v>
                </c:pt>
                <c:pt idx="100">
                  <c:v>11.09.21</c:v>
                </c:pt>
                <c:pt idx="101">
                  <c:v>12.09.21</c:v>
                </c:pt>
                <c:pt idx="102">
                  <c:v>13.09.21</c:v>
                </c:pt>
                <c:pt idx="103">
                  <c:v>14.09.21</c:v>
                </c:pt>
                <c:pt idx="104">
                  <c:v>15.09.21</c:v>
                </c:pt>
                <c:pt idx="105">
                  <c:v>16.09.21</c:v>
                </c:pt>
                <c:pt idx="106">
                  <c:v>17.09.21</c:v>
                </c:pt>
                <c:pt idx="107">
                  <c:v>18.09.21</c:v>
                </c:pt>
                <c:pt idx="108">
                  <c:v>19.09.21</c:v>
                </c:pt>
                <c:pt idx="109">
                  <c:v>20.09.21</c:v>
                </c:pt>
                <c:pt idx="110">
                  <c:v>21.09.21</c:v>
                </c:pt>
                <c:pt idx="111">
                  <c:v>22.09.21</c:v>
                </c:pt>
                <c:pt idx="112">
                  <c:v>23.09.21</c:v>
                </c:pt>
                <c:pt idx="113">
                  <c:v>24.09.21</c:v>
                </c:pt>
                <c:pt idx="114">
                  <c:v>25.09.21</c:v>
                </c:pt>
                <c:pt idx="115">
                  <c:v>26.09.21</c:v>
                </c:pt>
                <c:pt idx="116">
                  <c:v>27.09.21</c:v>
                </c:pt>
                <c:pt idx="117">
                  <c:v>28.09.21</c:v>
                </c:pt>
                <c:pt idx="118">
                  <c:v>29.09.21</c:v>
                </c:pt>
                <c:pt idx="119">
                  <c:v>30.09.21</c:v>
                </c:pt>
                <c:pt idx="120">
                  <c:v>01.10.21</c:v>
                </c:pt>
                <c:pt idx="121">
                  <c:v>02.10.21</c:v>
                </c:pt>
                <c:pt idx="122">
                  <c:v>03.10.21</c:v>
                </c:pt>
                <c:pt idx="123">
                  <c:v>04.10.21</c:v>
                </c:pt>
                <c:pt idx="124">
                  <c:v>05.10.21</c:v>
                </c:pt>
                <c:pt idx="125">
                  <c:v>06.10.21</c:v>
                </c:pt>
                <c:pt idx="126">
                  <c:v>07.10.21</c:v>
                </c:pt>
                <c:pt idx="127">
                  <c:v>08.10.21</c:v>
                </c:pt>
                <c:pt idx="128">
                  <c:v>09.10.21</c:v>
                </c:pt>
                <c:pt idx="129">
                  <c:v>10.10.21</c:v>
                </c:pt>
                <c:pt idx="130">
                  <c:v>11.10.21</c:v>
                </c:pt>
                <c:pt idx="131">
                  <c:v>12.10.21</c:v>
                </c:pt>
                <c:pt idx="132">
                  <c:v>13.10.21</c:v>
                </c:pt>
                <c:pt idx="133">
                  <c:v>14.10.21</c:v>
                </c:pt>
                <c:pt idx="134">
                  <c:v>15.10.21</c:v>
                </c:pt>
                <c:pt idx="135">
                  <c:v>16.10.21</c:v>
                </c:pt>
                <c:pt idx="136">
                  <c:v>17.10.21</c:v>
                </c:pt>
                <c:pt idx="137">
                  <c:v>18.10.21</c:v>
                </c:pt>
                <c:pt idx="138">
                  <c:v>19.10.21</c:v>
                </c:pt>
                <c:pt idx="139">
                  <c:v>20.10.21</c:v>
                </c:pt>
                <c:pt idx="140">
                  <c:v>21.10.21</c:v>
                </c:pt>
                <c:pt idx="141">
                  <c:v>22.10.21</c:v>
                </c:pt>
                <c:pt idx="142">
                  <c:v>23.10.21</c:v>
                </c:pt>
                <c:pt idx="143">
                  <c:v>24.10.21</c:v>
                </c:pt>
                <c:pt idx="144">
                  <c:v>25.10.21</c:v>
                </c:pt>
                <c:pt idx="145">
                  <c:v>26.10.21</c:v>
                </c:pt>
                <c:pt idx="146">
                  <c:v>27.10.21</c:v>
                </c:pt>
                <c:pt idx="147">
                  <c:v>28.10.21</c:v>
                </c:pt>
                <c:pt idx="148">
                  <c:v>29.10.21</c:v>
                </c:pt>
                <c:pt idx="149">
                  <c:v>30.10.21</c:v>
                </c:pt>
                <c:pt idx="150">
                  <c:v>31.10.21</c:v>
                </c:pt>
                <c:pt idx="151">
                  <c:v>01.11.21</c:v>
                </c:pt>
                <c:pt idx="152">
                  <c:v>02.11.21</c:v>
                </c:pt>
                <c:pt idx="153">
                  <c:v>03.11.21</c:v>
                </c:pt>
                <c:pt idx="154">
                  <c:v>04.11.21</c:v>
                </c:pt>
                <c:pt idx="155">
                  <c:v>05.11.21</c:v>
                </c:pt>
                <c:pt idx="156">
                  <c:v>06.11.21</c:v>
                </c:pt>
                <c:pt idx="157">
                  <c:v>07.11.21</c:v>
                </c:pt>
                <c:pt idx="158">
                  <c:v>08.11.21</c:v>
                </c:pt>
                <c:pt idx="159">
                  <c:v>09.11.21</c:v>
                </c:pt>
                <c:pt idx="160">
                  <c:v>10.11.21</c:v>
                </c:pt>
                <c:pt idx="161">
                  <c:v>11.11.21</c:v>
                </c:pt>
                <c:pt idx="162">
                  <c:v>12.11.21</c:v>
                </c:pt>
                <c:pt idx="163">
                  <c:v>13.11.21</c:v>
                </c:pt>
                <c:pt idx="164">
                  <c:v>14.11.21</c:v>
                </c:pt>
                <c:pt idx="165">
                  <c:v>15.11.21</c:v>
                </c:pt>
                <c:pt idx="166">
                  <c:v>16.11.21</c:v>
                </c:pt>
                <c:pt idx="167">
                  <c:v>17.11.21</c:v>
                </c:pt>
                <c:pt idx="168">
                  <c:v>18.11.21</c:v>
                </c:pt>
                <c:pt idx="169">
                  <c:v>19.11.21</c:v>
                </c:pt>
                <c:pt idx="170">
                  <c:v>20.11.21</c:v>
                </c:pt>
                <c:pt idx="171">
                  <c:v>21.11.21</c:v>
                </c:pt>
                <c:pt idx="172">
                  <c:v>22.11.21</c:v>
                </c:pt>
                <c:pt idx="173">
                  <c:v>23.11.21</c:v>
                </c:pt>
                <c:pt idx="174">
                  <c:v>24.11.21</c:v>
                </c:pt>
                <c:pt idx="175">
                  <c:v>25.11.21</c:v>
                </c:pt>
                <c:pt idx="176">
                  <c:v>26.11.21</c:v>
                </c:pt>
                <c:pt idx="177">
                  <c:v>27.11.21</c:v>
                </c:pt>
                <c:pt idx="178">
                  <c:v>28.11.21</c:v>
                </c:pt>
                <c:pt idx="179">
                  <c:v>29.11.21</c:v>
                </c:pt>
                <c:pt idx="180">
                  <c:v>30.11.21</c:v>
                </c:pt>
                <c:pt idx="181">
                  <c:v>01.12.21</c:v>
                </c:pt>
                <c:pt idx="182">
                  <c:v>02.12.21</c:v>
                </c:pt>
              </c:strCache>
            </c:strRef>
          </c:cat>
          <c:val>
            <c:numRef>
              <c:f>List1!$B$4:$GB$4</c:f>
              <c:numCache>
                <c:formatCode>General</c:formatCode>
                <c:ptCount val="183"/>
                <c:pt idx="0">
                  <c:v>34</c:v>
                </c:pt>
                <c:pt idx="1">
                  <c:v>30</c:v>
                </c:pt>
                <c:pt idx="2">
                  <c:v>31</c:v>
                </c:pt>
                <c:pt idx="3">
                  <c:v>30</c:v>
                </c:pt>
                <c:pt idx="4">
                  <c:v>27</c:v>
                </c:pt>
                <c:pt idx="5">
                  <c:v>25</c:v>
                </c:pt>
                <c:pt idx="6">
                  <c:v>24</c:v>
                </c:pt>
                <c:pt idx="7">
                  <c:v>23</c:v>
                </c:pt>
                <c:pt idx="8">
                  <c:v>21</c:v>
                </c:pt>
                <c:pt idx="9">
                  <c:v>21</c:v>
                </c:pt>
                <c:pt idx="10">
                  <c:v>21</c:v>
                </c:pt>
                <c:pt idx="11">
                  <c:v>18</c:v>
                </c:pt>
                <c:pt idx="12">
                  <c:v>17</c:v>
                </c:pt>
                <c:pt idx="13">
                  <c:v>18</c:v>
                </c:pt>
                <c:pt idx="14">
                  <c:v>19</c:v>
                </c:pt>
                <c:pt idx="15">
                  <c:v>19</c:v>
                </c:pt>
                <c:pt idx="16">
                  <c:v>17</c:v>
                </c:pt>
                <c:pt idx="17">
                  <c:v>18</c:v>
                </c:pt>
                <c:pt idx="18">
                  <c:v>17</c:v>
                </c:pt>
                <c:pt idx="19">
                  <c:v>16</c:v>
                </c:pt>
                <c:pt idx="20">
                  <c:v>18</c:v>
                </c:pt>
                <c:pt idx="21">
                  <c:v>19</c:v>
                </c:pt>
                <c:pt idx="22">
                  <c:v>18</c:v>
                </c:pt>
                <c:pt idx="23">
                  <c:v>19</c:v>
                </c:pt>
                <c:pt idx="24">
                  <c:v>21</c:v>
                </c:pt>
                <c:pt idx="25">
                  <c:v>21</c:v>
                </c:pt>
                <c:pt idx="26">
                  <c:v>22</c:v>
                </c:pt>
                <c:pt idx="27">
                  <c:v>22</c:v>
                </c:pt>
                <c:pt idx="28">
                  <c:v>21</c:v>
                </c:pt>
                <c:pt idx="29">
                  <c:v>22</c:v>
                </c:pt>
                <c:pt idx="30">
                  <c:v>20</c:v>
                </c:pt>
                <c:pt idx="31">
                  <c:v>20</c:v>
                </c:pt>
                <c:pt idx="32">
                  <c:v>20</c:v>
                </c:pt>
                <c:pt idx="33">
                  <c:v>19</c:v>
                </c:pt>
                <c:pt idx="34">
                  <c:v>19</c:v>
                </c:pt>
                <c:pt idx="35">
                  <c:v>23</c:v>
                </c:pt>
                <c:pt idx="36">
                  <c:v>26</c:v>
                </c:pt>
                <c:pt idx="37">
                  <c:v>25</c:v>
                </c:pt>
                <c:pt idx="38">
                  <c:v>24</c:v>
                </c:pt>
                <c:pt idx="39">
                  <c:v>26</c:v>
                </c:pt>
                <c:pt idx="40">
                  <c:v>26</c:v>
                </c:pt>
                <c:pt idx="41">
                  <c:v>30</c:v>
                </c:pt>
                <c:pt idx="42">
                  <c:v>32</c:v>
                </c:pt>
                <c:pt idx="43">
                  <c:v>36</c:v>
                </c:pt>
                <c:pt idx="44">
                  <c:v>37</c:v>
                </c:pt>
                <c:pt idx="45">
                  <c:v>38</c:v>
                </c:pt>
                <c:pt idx="46">
                  <c:v>40</c:v>
                </c:pt>
                <c:pt idx="47">
                  <c:v>45</c:v>
                </c:pt>
                <c:pt idx="48">
                  <c:v>44</c:v>
                </c:pt>
                <c:pt idx="49">
                  <c:v>43</c:v>
                </c:pt>
                <c:pt idx="50">
                  <c:v>42</c:v>
                </c:pt>
                <c:pt idx="51">
                  <c:v>42</c:v>
                </c:pt>
                <c:pt idx="52">
                  <c:v>42</c:v>
                </c:pt>
                <c:pt idx="53">
                  <c:v>43</c:v>
                </c:pt>
                <c:pt idx="54">
                  <c:v>47</c:v>
                </c:pt>
                <c:pt idx="55">
                  <c:v>44</c:v>
                </c:pt>
                <c:pt idx="56">
                  <c:v>43</c:v>
                </c:pt>
                <c:pt idx="57">
                  <c:v>41</c:v>
                </c:pt>
                <c:pt idx="58">
                  <c:v>41</c:v>
                </c:pt>
                <c:pt idx="59">
                  <c:v>39</c:v>
                </c:pt>
                <c:pt idx="60">
                  <c:v>37</c:v>
                </c:pt>
                <c:pt idx="61">
                  <c:v>39</c:v>
                </c:pt>
                <c:pt idx="62">
                  <c:v>41</c:v>
                </c:pt>
                <c:pt idx="63">
                  <c:v>37</c:v>
                </c:pt>
                <c:pt idx="64">
                  <c:v>38</c:v>
                </c:pt>
                <c:pt idx="65">
                  <c:v>38</c:v>
                </c:pt>
                <c:pt idx="66">
                  <c:v>36</c:v>
                </c:pt>
                <c:pt idx="67">
                  <c:v>39</c:v>
                </c:pt>
                <c:pt idx="68">
                  <c:v>38</c:v>
                </c:pt>
                <c:pt idx="69">
                  <c:v>38</c:v>
                </c:pt>
                <c:pt idx="70">
                  <c:v>37</c:v>
                </c:pt>
                <c:pt idx="71">
                  <c:v>42</c:v>
                </c:pt>
                <c:pt idx="72">
                  <c:v>43</c:v>
                </c:pt>
                <c:pt idx="73">
                  <c:v>43</c:v>
                </c:pt>
                <c:pt idx="74">
                  <c:v>41</c:v>
                </c:pt>
                <c:pt idx="75">
                  <c:v>38</c:v>
                </c:pt>
                <c:pt idx="76">
                  <c:v>37</c:v>
                </c:pt>
                <c:pt idx="77">
                  <c:v>35</c:v>
                </c:pt>
                <c:pt idx="78">
                  <c:v>37</c:v>
                </c:pt>
                <c:pt idx="79">
                  <c:v>38</c:v>
                </c:pt>
                <c:pt idx="80">
                  <c:v>39</c:v>
                </c:pt>
                <c:pt idx="81">
                  <c:v>36</c:v>
                </c:pt>
                <c:pt idx="82">
                  <c:v>37</c:v>
                </c:pt>
                <c:pt idx="83">
                  <c:v>41</c:v>
                </c:pt>
                <c:pt idx="84">
                  <c:v>39</c:v>
                </c:pt>
                <c:pt idx="85">
                  <c:v>38</c:v>
                </c:pt>
                <c:pt idx="86">
                  <c:v>36</c:v>
                </c:pt>
                <c:pt idx="87">
                  <c:v>37</c:v>
                </c:pt>
                <c:pt idx="88">
                  <c:v>35</c:v>
                </c:pt>
                <c:pt idx="89">
                  <c:v>36</c:v>
                </c:pt>
                <c:pt idx="90">
                  <c:v>38</c:v>
                </c:pt>
                <c:pt idx="91">
                  <c:v>42</c:v>
                </c:pt>
                <c:pt idx="92">
                  <c:v>44</c:v>
                </c:pt>
                <c:pt idx="93">
                  <c:v>47</c:v>
                </c:pt>
                <c:pt idx="94">
                  <c:v>46</c:v>
                </c:pt>
                <c:pt idx="95">
                  <c:v>50</c:v>
                </c:pt>
                <c:pt idx="96">
                  <c:v>51</c:v>
                </c:pt>
                <c:pt idx="97">
                  <c:v>48</c:v>
                </c:pt>
                <c:pt idx="98">
                  <c:v>47</c:v>
                </c:pt>
                <c:pt idx="99">
                  <c:v>49</c:v>
                </c:pt>
                <c:pt idx="100">
                  <c:v>48</c:v>
                </c:pt>
                <c:pt idx="101">
                  <c:v>51</c:v>
                </c:pt>
                <c:pt idx="102">
                  <c:v>52</c:v>
                </c:pt>
                <c:pt idx="103">
                  <c:v>52</c:v>
                </c:pt>
                <c:pt idx="104">
                  <c:v>56</c:v>
                </c:pt>
                <c:pt idx="105">
                  <c:v>59</c:v>
                </c:pt>
                <c:pt idx="106">
                  <c:v>57</c:v>
                </c:pt>
                <c:pt idx="107">
                  <c:v>56</c:v>
                </c:pt>
                <c:pt idx="108">
                  <c:v>59</c:v>
                </c:pt>
                <c:pt idx="109">
                  <c:v>60</c:v>
                </c:pt>
                <c:pt idx="110">
                  <c:v>67</c:v>
                </c:pt>
                <c:pt idx="111">
                  <c:v>74</c:v>
                </c:pt>
                <c:pt idx="112">
                  <c:v>76</c:v>
                </c:pt>
                <c:pt idx="113">
                  <c:v>79</c:v>
                </c:pt>
                <c:pt idx="114">
                  <c:v>82</c:v>
                </c:pt>
                <c:pt idx="115">
                  <c:v>81</c:v>
                </c:pt>
                <c:pt idx="116">
                  <c:v>84</c:v>
                </c:pt>
                <c:pt idx="117">
                  <c:v>89</c:v>
                </c:pt>
                <c:pt idx="118">
                  <c:v>90</c:v>
                </c:pt>
                <c:pt idx="119">
                  <c:v>95</c:v>
                </c:pt>
                <c:pt idx="120">
                  <c:v>98</c:v>
                </c:pt>
                <c:pt idx="121">
                  <c:v>100</c:v>
                </c:pt>
                <c:pt idx="122">
                  <c:v>102</c:v>
                </c:pt>
                <c:pt idx="123">
                  <c:v>103</c:v>
                </c:pt>
                <c:pt idx="124">
                  <c:v>105</c:v>
                </c:pt>
                <c:pt idx="125">
                  <c:v>114</c:v>
                </c:pt>
                <c:pt idx="126">
                  <c:v>120</c:v>
                </c:pt>
                <c:pt idx="127">
                  <c:v>125</c:v>
                </c:pt>
                <c:pt idx="128">
                  <c:v>130</c:v>
                </c:pt>
                <c:pt idx="129">
                  <c:v>132</c:v>
                </c:pt>
                <c:pt idx="130">
                  <c:v>141</c:v>
                </c:pt>
                <c:pt idx="131">
                  <c:v>170</c:v>
                </c:pt>
                <c:pt idx="132">
                  <c:v>176</c:v>
                </c:pt>
                <c:pt idx="133">
                  <c:v>184</c:v>
                </c:pt>
                <c:pt idx="134">
                  <c:v>188</c:v>
                </c:pt>
                <c:pt idx="135">
                  <c:v>194</c:v>
                </c:pt>
                <c:pt idx="136">
                  <c:v>198</c:v>
                </c:pt>
                <c:pt idx="137">
                  <c:v>226</c:v>
                </c:pt>
                <c:pt idx="138">
                  <c:v>266</c:v>
                </c:pt>
                <c:pt idx="139">
                  <c:v>303</c:v>
                </c:pt>
                <c:pt idx="140">
                  <c:v>342</c:v>
                </c:pt>
                <c:pt idx="141">
                  <c:v>373</c:v>
                </c:pt>
                <c:pt idx="142">
                  <c:v>396</c:v>
                </c:pt>
                <c:pt idx="143">
                  <c:v>408</c:v>
                </c:pt>
                <c:pt idx="144">
                  <c:v>455</c:v>
                </c:pt>
                <c:pt idx="145">
                  <c:v>508</c:v>
                </c:pt>
                <c:pt idx="146">
                  <c:v>556</c:v>
                </c:pt>
                <c:pt idx="147">
                  <c:v>579</c:v>
                </c:pt>
                <c:pt idx="148">
                  <c:v>643</c:v>
                </c:pt>
                <c:pt idx="149">
                  <c:v>685</c:v>
                </c:pt>
                <c:pt idx="150">
                  <c:v>714</c:v>
                </c:pt>
                <c:pt idx="151">
                  <c:v>786</c:v>
                </c:pt>
                <c:pt idx="152">
                  <c:v>860</c:v>
                </c:pt>
                <c:pt idx="153">
                  <c:v>919</c:v>
                </c:pt>
                <c:pt idx="154">
                  <c:v>972</c:v>
                </c:pt>
                <c:pt idx="155">
                  <c:v>1058</c:v>
                </c:pt>
                <c:pt idx="156">
                  <c:v>1087</c:v>
                </c:pt>
                <c:pt idx="157">
                  <c:v>1089</c:v>
                </c:pt>
                <c:pt idx="158">
                  <c:v>1124</c:v>
                </c:pt>
                <c:pt idx="159">
                  <c:v>1197</c:v>
                </c:pt>
                <c:pt idx="160">
                  <c:v>1274</c:v>
                </c:pt>
                <c:pt idx="161">
                  <c:v>1360</c:v>
                </c:pt>
                <c:pt idx="162">
                  <c:v>1420</c:v>
                </c:pt>
                <c:pt idx="163">
                  <c:v>1467</c:v>
                </c:pt>
                <c:pt idx="164">
                  <c:v>1477</c:v>
                </c:pt>
                <c:pt idx="165">
                  <c:v>1464</c:v>
                </c:pt>
                <c:pt idx="166">
                  <c:v>1537</c:v>
                </c:pt>
                <c:pt idx="167">
                  <c:v>1585</c:v>
                </c:pt>
                <c:pt idx="168">
                  <c:v>1628</c:v>
                </c:pt>
                <c:pt idx="169">
                  <c:v>1756</c:v>
                </c:pt>
                <c:pt idx="170">
                  <c:v>1836</c:v>
                </c:pt>
                <c:pt idx="171">
                  <c:v>1881</c:v>
                </c:pt>
                <c:pt idx="172">
                  <c:v>1913</c:v>
                </c:pt>
                <c:pt idx="173">
                  <c:v>1959</c:v>
                </c:pt>
                <c:pt idx="174">
                  <c:v>1997</c:v>
                </c:pt>
                <c:pt idx="175">
                  <c:v>2110</c:v>
                </c:pt>
                <c:pt idx="176">
                  <c:v>2094</c:v>
                </c:pt>
                <c:pt idx="177">
                  <c:v>2144</c:v>
                </c:pt>
                <c:pt idx="178">
                  <c:v>2166</c:v>
                </c:pt>
                <c:pt idx="179">
                  <c:v>2357</c:v>
                </c:pt>
                <c:pt idx="180">
                  <c:v>2510</c:v>
                </c:pt>
                <c:pt idx="181">
                  <c:v>2654</c:v>
                </c:pt>
                <c:pt idx="182">
                  <c:v>27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37CD-4BA3-857E-B86804E5EE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14648495541371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dLbl>
              <c:idx val="13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A3F-421B-A24A-264CC3DD701B}"/>
                </c:ext>
              </c:extLst>
            </c:dLbl>
            <c:dLbl>
              <c:idx val="13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487-4B41-A7BA-23E0663C99CB}"/>
                </c:ext>
              </c:extLst>
            </c:dLbl>
            <c:dLbl>
              <c:idx val="13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487-4B41-A7BA-23E0663C99CB}"/>
                </c:ext>
              </c:extLst>
            </c:dLbl>
            <c:dLbl>
              <c:idx val="13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A3F-421B-A24A-264CC3DD701B}"/>
                </c:ext>
              </c:extLst>
            </c:dLbl>
            <c:dLbl>
              <c:idx val="13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487-4B41-A7BA-23E0663C99CB}"/>
                </c:ext>
              </c:extLst>
            </c:dLbl>
            <c:dLbl>
              <c:idx val="14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A3F-421B-A24A-264CC3DD701B}"/>
                </c:ext>
              </c:extLst>
            </c:dLbl>
            <c:dLbl>
              <c:idx val="14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487-4B41-A7BA-23E0663C99CB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298</c:f>
              <c:numCache>
                <c:formatCode>m/d/yyyy</c:formatCode>
                <c:ptCount val="164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9</c:v>
                </c:pt>
                <c:pt idx="21">
                  <c:v>44390</c:v>
                </c:pt>
                <c:pt idx="22">
                  <c:v>44391</c:v>
                </c:pt>
                <c:pt idx="23">
                  <c:v>44392</c:v>
                </c:pt>
                <c:pt idx="24">
                  <c:v>44393</c:v>
                </c:pt>
                <c:pt idx="25">
                  <c:v>44394</c:v>
                </c:pt>
                <c:pt idx="26">
                  <c:v>44395</c:v>
                </c:pt>
                <c:pt idx="27">
                  <c:v>44396</c:v>
                </c:pt>
                <c:pt idx="28">
                  <c:v>44397</c:v>
                </c:pt>
                <c:pt idx="29">
                  <c:v>44398</c:v>
                </c:pt>
                <c:pt idx="30">
                  <c:v>44399</c:v>
                </c:pt>
                <c:pt idx="31">
                  <c:v>44400</c:v>
                </c:pt>
                <c:pt idx="32">
                  <c:v>44401</c:v>
                </c:pt>
                <c:pt idx="33">
                  <c:v>44402</c:v>
                </c:pt>
                <c:pt idx="34">
                  <c:v>44403</c:v>
                </c:pt>
                <c:pt idx="35">
                  <c:v>44404</c:v>
                </c:pt>
                <c:pt idx="36">
                  <c:v>44405</c:v>
                </c:pt>
                <c:pt idx="37">
                  <c:v>44406</c:v>
                </c:pt>
                <c:pt idx="38">
                  <c:v>44407</c:v>
                </c:pt>
                <c:pt idx="39">
                  <c:v>44408</c:v>
                </c:pt>
                <c:pt idx="40">
                  <c:v>44409</c:v>
                </c:pt>
                <c:pt idx="41">
                  <c:v>44410</c:v>
                </c:pt>
                <c:pt idx="42">
                  <c:v>44411</c:v>
                </c:pt>
                <c:pt idx="43">
                  <c:v>44412</c:v>
                </c:pt>
                <c:pt idx="44">
                  <c:v>44413</c:v>
                </c:pt>
                <c:pt idx="45">
                  <c:v>44414</c:v>
                </c:pt>
                <c:pt idx="46">
                  <c:v>44415</c:v>
                </c:pt>
                <c:pt idx="47">
                  <c:v>44416</c:v>
                </c:pt>
                <c:pt idx="48">
                  <c:v>44417</c:v>
                </c:pt>
                <c:pt idx="49">
                  <c:v>44418</c:v>
                </c:pt>
                <c:pt idx="50">
                  <c:v>44419</c:v>
                </c:pt>
                <c:pt idx="51">
                  <c:v>44420</c:v>
                </c:pt>
                <c:pt idx="52">
                  <c:v>44421</c:v>
                </c:pt>
                <c:pt idx="53">
                  <c:v>44422</c:v>
                </c:pt>
                <c:pt idx="54">
                  <c:v>44423</c:v>
                </c:pt>
                <c:pt idx="55">
                  <c:v>44424</c:v>
                </c:pt>
                <c:pt idx="56">
                  <c:v>44425</c:v>
                </c:pt>
                <c:pt idx="57">
                  <c:v>44426</c:v>
                </c:pt>
                <c:pt idx="58">
                  <c:v>44427</c:v>
                </c:pt>
                <c:pt idx="59">
                  <c:v>44428</c:v>
                </c:pt>
                <c:pt idx="60">
                  <c:v>44429</c:v>
                </c:pt>
                <c:pt idx="61">
                  <c:v>44430</c:v>
                </c:pt>
                <c:pt idx="62">
                  <c:v>44431</c:v>
                </c:pt>
                <c:pt idx="63">
                  <c:v>44432</c:v>
                </c:pt>
                <c:pt idx="64">
                  <c:v>44433</c:v>
                </c:pt>
                <c:pt idx="65">
                  <c:v>44434</c:v>
                </c:pt>
                <c:pt idx="66">
                  <c:v>44435</c:v>
                </c:pt>
                <c:pt idx="67">
                  <c:v>44436</c:v>
                </c:pt>
                <c:pt idx="68">
                  <c:v>44437</c:v>
                </c:pt>
                <c:pt idx="69">
                  <c:v>44438</c:v>
                </c:pt>
                <c:pt idx="70">
                  <c:v>44439</c:v>
                </c:pt>
                <c:pt idx="71">
                  <c:v>44440</c:v>
                </c:pt>
                <c:pt idx="72">
                  <c:v>44441</c:v>
                </c:pt>
                <c:pt idx="73">
                  <c:v>44442</c:v>
                </c:pt>
                <c:pt idx="74">
                  <c:v>44443</c:v>
                </c:pt>
                <c:pt idx="75">
                  <c:v>44444</c:v>
                </c:pt>
                <c:pt idx="76">
                  <c:v>44445</c:v>
                </c:pt>
                <c:pt idx="77">
                  <c:v>44446</c:v>
                </c:pt>
                <c:pt idx="78">
                  <c:v>44447</c:v>
                </c:pt>
                <c:pt idx="79">
                  <c:v>44448</c:v>
                </c:pt>
                <c:pt idx="80">
                  <c:v>44449</c:v>
                </c:pt>
                <c:pt idx="81">
                  <c:v>44450</c:v>
                </c:pt>
                <c:pt idx="82">
                  <c:v>44451</c:v>
                </c:pt>
                <c:pt idx="83">
                  <c:v>44452</c:v>
                </c:pt>
                <c:pt idx="84">
                  <c:v>44453</c:v>
                </c:pt>
                <c:pt idx="85">
                  <c:v>44454</c:v>
                </c:pt>
                <c:pt idx="86">
                  <c:v>44455</c:v>
                </c:pt>
                <c:pt idx="87">
                  <c:v>44456</c:v>
                </c:pt>
                <c:pt idx="88">
                  <c:v>44457</c:v>
                </c:pt>
                <c:pt idx="89">
                  <c:v>44458</c:v>
                </c:pt>
                <c:pt idx="90">
                  <c:v>44459</c:v>
                </c:pt>
                <c:pt idx="91">
                  <c:v>44460</c:v>
                </c:pt>
                <c:pt idx="92">
                  <c:v>44461</c:v>
                </c:pt>
                <c:pt idx="93">
                  <c:v>44462</c:v>
                </c:pt>
                <c:pt idx="94">
                  <c:v>44463</c:v>
                </c:pt>
                <c:pt idx="95">
                  <c:v>44464</c:v>
                </c:pt>
                <c:pt idx="96">
                  <c:v>44465</c:v>
                </c:pt>
                <c:pt idx="97">
                  <c:v>44466</c:v>
                </c:pt>
                <c:pt idx="98">
                  <c:v>44467</c:v>
                </c:pt>
                <c:pt idx="99">
                  <c:v>44468</c:v>
                </c:pt>
                <c:pt idx="100">
                  <c:v>44469</c:v>
                </c:pt>
                <c:pt idx="101">
                  <c:v>44470</c:v>
                </c:pt>
                <c:pt idx="102">
                  <c:v>44471</c:v>
                </c:pt>
                <c:pt idx="103">
                  <c:v>44472</c:v>
                </c:pt>
                <c:pt idx="104">
                  <c:v>44473</c:v>
                </c:pt>
                <c:pt idx="105">
                  <c:v>44474</c:v>
                </c:pt>
                <c:pt idx="106">
                  <c:v>44475</c:v>
                </c:pt>
                <c:pt idx="107">
                  <c:v>44476</c:v>
                </c:pt>
                <c:pt idx="108">
                  <c:v>44477</c:v>
                </c:pt>
                <c:pt idx="109">
                  <c:v>44478</c:v>
                </c:pt>
                <c:pt idx="110">
                  <c:v>44479</c:v>
                </c:pt>
                <c:pt idx="111">
                  <c:v>44480</c:v>
                </c:pt>
                <c:pt idx="112">
                  <c:v>44481</c:v>
                </c:pt>
                <c:pt idx="113">
                  <c:v>44482</c:v>
                </c:pt>
                <c:pt idx="114">
                  <c:v>44483</c:v>
                </c:pt>
                <c:pt idx="115">
                  <c:v>44484</c:v>
                </c:pt>
                <c:pt idx="116">
                  <c:v>44485</c:v>
                </c:pt>
                <c:pt idx="117">
                  <c:v>44486</c:v>
                </c:pt>
                <c:pt idx="118">
                  <c:v>44487</c:v>
                </c:pt>
                <c:pt idx="119">
                  <c:v>44488</c:v>
                </c:pt>
                <c:pt idx="120">
                  <c:v>44489</c:v>
                </c:pt>
                <c:pt idx="121">
                  <c:v>44490</c:v>
                </c:pt>
                <c:pt idx="122">
                  <c:v>44491</c:v>
                </c:pt>
                <c:pt idx="123">
                  <c:v>44492</c:v>
                </c:pt>
                <c:pt idx="124">
                  <c:v>44493</c:v>
                </c:pt>
                <c:pt idx="125">
                  <c:v>44494</c:v>
                </c:pt>
                <c:pt idx="126">
                  <c:v>44495</c:v>
                </c:pt>
                <c:pt idx="127">
                  <c:v>44496</c:v>
                </c:pt>
                <c:pt idx="128">
                  <c:v>44497</c:v>
                </c:pt>
                <c:pt idx="129">
                  <c:v>44498</c:v>
                </c:pt>
                <c:pt idx="130">
                  <c:v>44499</c:v>
                </c:pt>
                <c:pt idx="131">
                  <c:v>44500</c:v>
                </c:pt>
                <c:pt idx="132">
                  <c:v>44501</c:v>
                </c:pt>
                <c:pt idx="133">
                  <c:v>44502</c:v>
                </c:pt>
                <c:pt idx="134">
                  <c:v>44503</c:v>
                </c:pt>
                <c:pt idx="135">
                  <c:v>44504</c:v>
                </c:pt>
                <c:pt idx="136">
                  <c:v>44505</c:v>
                </c:pt>
                <c:pt idx="137">
                  <c:v>44506</c:v>
                </c:pt>
                <c:pt idx="138">
                  <c:v>44507</c:v>
                </c:pt>
                <c:pt idx="139">
                  <c:v>44508</c:v>
                </c:pt>
                <c:pt idx="140">
                  <c:v>44509</c:v>
                </c:pt>
                <c:pt idx="141">
                  <c:v>44510</c:v>
                </c:pt>
                <c:pt idx="142">
                  <c:v>44511</c:v>
                </c:pt>
                <c:pt idx="143">
                  <c:v>44512</c:v>
                </c:pt>
                <c:pt idx="144">
                  <c:v>44513</c:v>
                </c:pt>
                <c:pt idx="145">
                  <c:v>44514</c:v>
                </c:pt>
                <c:pt idx="146">
                  <c:v>44515</c:v>
                </c:pt>
                <c:pt idx="147">
                  <c:v>44516</c:v>
                </c:pt>
                <c:pt idx="148">
                  <c:v>44517</c:v>
                </c:pt>
                <c:pt idx="149">
                  <c:v>44518</c:v>
                </c:pt>
                <c:pt idx="150">
                  <c:v>44519</c:v>
                </c:pt>
                <c:pt idx="151">
                  <c:v>44520</c:v>
                </c:pt>
                <c:pt idx="152">
                  <c:v>44521</c:v>
                </c:pt>
                <c:pt idx="153">
                  <c:v>44522</c:v>
                </c:pt>
                <c:pt idx="154">
                  <c:v>44523</c:v>
                </c:pt>
                <c:pt idx="155">
                  <c:v>44524</c:v>
                </c:pt>
                <c:pt idx="156">
                  <c:v>44525</c:v>
                </c:pt>
                <c:pt idx="157">
                  <c:v>44526</c:v>
                </c:pt>
                <c:pt idx="158">
                  <c:v>44527</c:v>
                </c:pt>
                <c:pt idx="159">
                  <c:v>44528</c:v>
                </c:pt>
                <c:pt idx="160">
                  <c:v>44529</c:v>
                </c:pt>
                <c:pt idx="161">
                  <c:v>44530</c:v>
                </c:pt>
                <c:pt idx="162">
                  <c:v>44531</c:v>
                </c:pt>
                <c:pt idx="163">
                  <c:v>44532</c:v>
                </c:pt>
              </c:numCache>
            </c:numRef>
          </c:cat>
          <c:val>
            <c:numRef>
              <c:f>Sheet1!$B$135:$B$298</c:f>
              <c:numCache>
                <c:formatCode>General</c:formatCode>
                <c:ptCount val="164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1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2</c:v>
                </c:pt>
                <c:pt idx="19">
                  <c:v>0</c:v>
                </c:pt>
                <c:pt idx="20">
                  <c:v>2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3</c:v>
                </c:pt>
                <c:pt idx="25">
                  <c:v>2</c:v>
                </c:pt>
                <c:pt idx="26">
                  <c:v>1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4</c:v>
                </c:pt>
                <c:pt idx="31">
                  <c:v>0</c:v>
                </c:pt>
                <c:pt idx="32">
                  <c:v>0</c:v>
                </c:pt>
                <c:pt idx="33">
                  <c:v>1</c:v>
                </c:pt>
                <c:pt idx="34">
                  <c:v>3</c:v>
                </c:pt>
                <c:pt idx="35">
                  <c:v>1</c:v>
                </c:pt>
                <c:pt idx="36">
                  <c:v>1</c:v>
                </c:pt>
                <c:pt idx="37">
                  <c:v>2</c:v>
                </c:pt>
                <c:pt idx="38">
                  <c:v>2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7</c:v>
                </c:pt>
                <c:pt idx="44">
                  <c:v>1</c:v>
                </c:pt>
                <c:pt idx="45">
                  <c:v>2</c:v>
                </c:pt>
                <c:pt idx="46">
                  <c:v>0</c:v>
                </c:pt>
                <c:pt idx="47">
                  <c:v>3</c:v>
                </c:pt>
                <c:pt idx="48">
                  <c:v>2</c:v>
                </c:pt>
                <c:pt idx="49">
                  <c:v>0</c:v>
                </c:pt>
                <c:pt idx="50">
                  <c:v>4</c:v>
                </c:pt>
                <c:pt idx="51">
                  <c:v>1</c:v>
                </c:pt>
                <c:pt idx="52">
                  <c:v>1</c:v>
                </c:pt>
                <c:pt idx="53">
                  <c:v>0</c:v>
                </c:pt>
                <c:pt idx="54">
                  <c:v>0</c:v>
                </c:pt>
                <c:pt idx="55">
                  <c:v>3</c:v>
                </c:pt>
                <c:pt idx="56">
                  <c:v>0</c:v>
                </c:pt>
                <c:pt idx="57">
                  <c:v>0</c:v>
                </c:pt>
                <c:pt idx="58">
                  <c:v>2</c:v>
                </c:pt>
                <c:pt idx="59">
                  <c:v>1</c:v>
                </c:pt>
                <c:pt idx="60">
                  <c:v>0</c:v>
                </c:pt>
                <c:pt idx="61">
                  <c:v>0</c:v>
                </c:pt>
                <c:pt idx="62">
                  <c:v>2</c:v>
                </c:pt>
                <c:pt idx="63">
                  <c:v>0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0</c:v>
                </c:pt>
                <c:pt idx="69">
                  <c:v>0</c:v>
                </c:pt>
                <c:pt idx="70">
                  <c:v>4</c:v>
                </c:pt>
                <c:pt idx="71">
                  <c:v>4</c:v>
                </c:pt>
                <c:pt idx="72">
                  <c:v>1</c:v>
                </c:pt>
                <c:pt idx="73">
                  <c:v>1</c:v>
                </c:pt>
                <c:pt idx="74">
                  <c:v>3</c:v>
                </c:pt>
                <c:pt idx="75">
                  <c:v>1</c:v>
                </c:pt>
                <c:pt idx="76">
                  <c:v>0</c:v>
                </c:pt>
                <c:pt idx="77">
                  <c:v>2</c:v>
                </c:pt>
                <c:pt idx="78">
                  <c:v>0</c:v>
                </c:pt>
                <c:pt idx="79">
                  <c:v>0</c:v>
                </c:pt>
                <c:pt idx="80">
                  <c:v>3</c:v>
                </c:pt>
                <c:pt idx="81">
                  <c:v>3</c:v>
                </c:pt>
                <c:pt idx="82">
                  <c:v>0</c:v>
                </c:pt>
                <c:pt idx="83">
                  <c:v>4</c:v>
                </c:pt>
                <c:pt idx="84">
                  <c:v>2</c:v>
                </c:pt>
                <c:pt idx="85">
                  <c:v>0</c:v>
                </c:pt>
                <c:pt idx="86">
                  <c:v>1</c:v>
                </c:pt>
                <c:pt idx="87">
                  <c:v>2</c:v>
                </c:pt>
                <c:pt idx="88">
                  <c:v>1</c:v>
                </c:pt>
                <c:pt idx="89">
                  <c:v>1</c:v>
                </c:pt>
                <c:pt idx="90">
                  <c:v>0</c:v>
                </c:pt>
                <c:pt idx="91">
                  <c:v>3</c:v>
                </c:pt>
                <c:pt idx="92">
                  <c:v>3</c:v>
                </c:pt>
                <c:pt idx="93">
                  <c:v>2</c:v>
                </c:pt>
                <c:pt idx="94">
                  <c:v>3</c:v>
                </c:pt>
                <c:pt idx="95">
                  <c:v>0</c:v>
                </c:pt>
                <c:pt idx="96">
                  <c:v>2</c:v>
                </c:pt>
                <c:pt idx="97">
                  <c:v>6</c:v>
                </c:pt>
                <c:pt idx="98">
                  <c:v>4</c:v>
                </c:pt>
                <c:pt idx="99">
                  <c:v>3</c:v>
                </c:pt>
                <c:pt idx="100">
                  <c:v>9</c:v>
                </c:pt>
                <c:pt idx="101">
                  <c:v>2</c:v>
                </c:pt>
                <c:pt idx="102">
                  <c:v>5</c:v>
                </c:pt>
                <c:pt idx="103">
                  <c:v>1</c:v>
                </c:pt>
                <c:pt idx="104">
                  <c:v>0</c:v>
                </c:pt>
                <c:pt idx="105">
                  <c:v>2</c:v>
                </c:pt>
                <c:pt idx="106">
                  <c:v>5</c:v>
                </c:pt>
                <c:pt idx="107">
                  <c:v>6</c:v>
                </c:pt>
                <c:pt idx="108">
                  <c:v>6</c:v>
                </c:pt>
                <c:pt idx="109">
                  <c:v>1</c:v>
                </c:pt>
                <c:pt idx="110">
                  <c:v>1</c:v>
                </c:pt>
                <c:pt idx="111">
                  <c:v>3</c:v>
                </c:pt>
                <c:pt idx="112">
                  <c:v>10</c:v>
                </c:pt>
                <c:pt idx="113">
                  <c:v>7</c:v>
                </c:pt>
                <c:pt idx="114">
                  <c:v>7</c:v>
                </c:pt>
                <c:pt idx="115">
                  <c:v>6</c:v>
                </c:pt>
                <c:pt idx="116">
                  <c:v>5</c:v>
                </c:pt>
                <c:pt idx="117">
                  <c:v>8</c:v>
                </c:pt>
                <c:pt idx="118">
                  <c:v>17</c:v>
                </c:pt>
                <c:pt idx="119">
                  <c:v>17</c:v>
                </c:pt>
                <c:pt idx="120">
                  <c:v>13</c:v>
                </c:pt>
                <c:pt idx="121">
                  <c:v>13</c:v>
                </c:pt>
                <c:pt idx="122">
                  <c:v>17</c:v>
                </c:pt>
                <c:pt idx="123">
                  <c:v>14</c:v>
                </c:pt>
                <c:pt idx="124">
                  <c:v>12</c:v>
                </c:pt>
                <c:pt idx="125">
                  <c:v>29</c:v>
                </c:pt>
                <c:pt idx="126">
                  <c:v>20</c:v>
                </c:pt>
                <c:pt idx="127">
                  <c:v>23</c:v>
                </c:pt>
                <c:pt idx="128">
                  <c:v>22</c:v>
                </c:pt>
                <c:pt idx="129">
                  <c:v>38</c:v>
                </c:pt>
                <c:pt idx="130">
                  <c:v>22</c:v>
                </c:pt>
                <c:pt idx="131">
                  <c:v>18</c:v>
                </c:pt>
                <c:pt idx="132">
                  <c:v>57</c:v>
                </c:pt>
                <c:pt idx="133">
                  <c:v>38</c:v>
                </c:pt>
                <c:pt idx="134">
                  <c:v>39</c:v>
                </c:pt>
                <c:pt idx="135">
                  <c:v>27</c:v>
                </c:pt>
                <c:pt idx="136">
                  <c:v>40</c:v>
                </c:pt>
                <c:pt idx="137">
                  <c:v>21</c:v>
                </c:pt>
                <c:pt idx="138">
                  <c:v>19</c:v>
                </c:pt>
                <c:pt idx="139">
                  <c:v>53</c:v>
                </c:pt>
                <c:pt idx="140">
                  <c:v>46</c:v>
                </c:pt>
                <c:pt idx="141">
                  <c:v>48</c:v>
                </c:pt>
                <c:pt idx="142">
                  <c:v>49</c:v>
                </c:pt>
                <c:pt idx="143">
                  <c:v>44</c:v>
                </c:pt>
                <c:pt idx="144">
                  <c:v>50</c:v>
                </c:pt>
                <c:pt idx="145">
                  <c:v>23</c:v>
                </c:pt>
                <c:pt idx="146">
                  <c:v>64</c:v>
                </c:pt>
                <c:pt idx="147">
                  <c:v>62</c:v>
                </c:pt>
                <c:pt idx="148">
                  <c:v>44</c:v>
                </c:pt>
                <c:pt idx="149">
                  <c:v>56</c:v>
                </c:pt>
                <c:pt idx="150">
                  <c:v>84</c:v>
                </c:pt>
                <c:pt idx="151">
                  <c:v>48</c:v>
                </c:pt>
                <c:pt idx="152">
                  <c:v>31</c:v>
                </c:pt>
                <c:pt idx="153">
                  <c:v>63</c:v>
                </c:pt>
                <c:pt idx="154">
                  <c:v>73</c:v>
                </c:pt>
                <c:pt idx="155">
                  <c:v>44</c:v>
                </c:pt>
                <c:pt idx="156">
                  <c:v>70</c:v>
                </c:pt>
                <c:pt idx="157">
                  <c:v>56</c:v>
                </c:pt>
                <c:pt idx="158">
                  <c:v>33</c:v>
                </c:pt>
                <c:pt idx="159">
                  <c:v>42</c:v>
                </c:pt>
                <c:pt idx="160">
                  <c:v>64</c:v>
                </c:pt>
                <c:pt idx="161">
                  <c:v>47</c:v>
                </c:pt>
                <c:pt idx="162">
                  <c:v>53</c:v>
                </c:pt>
                <c:pt idx="163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8C7-4733-952F-D247528AD3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4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95348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61506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448913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95533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368077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572051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389165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330937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884498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830327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309397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44313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44313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017834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6409036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841529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4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99851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4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084567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88844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89344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66172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51231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82131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91496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31954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0.svg"/><Relationship Id="rId5" Type="http://schemas.openxmlformats.org/officeDocument/2006/relationships/image" Target="../media/image13.png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039226"/>
            <a:ext cx="11487705" cy="5587305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11FBEFA6-3CC9-4A8B-98AB-811AE091489A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C2747F8C-F296-41AB-B6E6-650FFEA0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928806D-A537-4323-B4ED-4983696D2AF8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B2B0A03-1219-4FC5-81C7-A43DCB123A0C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2E921148-1008-412D-AB36-245237C3D6B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28" name="Obrázek 2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480755B3-A38B-4215-974C-50EA6F66494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23" name="Grafický objekt 22">
              <a:extLst>
                <a:ext uri="{FF2B5EF4-FFF2-40B4-BE49-F238E27FC236}">
                  <a16:creationId xmlns:a16="http://schemas.microsoft.com/office/drawing/2014/main" id="{1A14BE4F-72B2-49A1-B4A4-7983F7AE57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751BB3-54BB-497C-9D87-7331E6365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69F060A-A852-4CAC-8567-9FF26BE22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A874AFF-9D96-448C-A700-2FC369C17C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FEB687C-F962-4BE7-8278-3C31FC255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4.12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8620F06-EBA0-40CC-9A9C-15001C536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FDE4CA-77DD-417D-8C54-07ECB9628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298858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EF8E94-026C-4341-B09E-E0FB30A2B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70218-0D2B-45AF-8CEE-4DF7A0BA9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FFD3F4B-DA25-4423-9234-6270FB4E0C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7E2AC16-B4BF-4A45-92DD-CD16581B2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000A558-D06F-4CAD-88FC-71F13523FA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18A76E9-680A-4BC2-86CB-5D2DB66F5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4.12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52DBE4-0E61-401B-BD63-91D12BCAE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424E131-06CD-4DDF-BC06-F98D2D3B9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879045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5B3AFD-D5D4-46CB-9F1D-95D2EFDFB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1BD99F9-6247-4A54-87C4-9749A54B1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4.12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DBF052-AB7F-4048-9680-0492DCE6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92A02BA-2BB6-4CF6-8B58-CFAA66013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467086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12E4EC-12D7-42E4-AE43-F6D7008AB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4.12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06D130-0739-4330-9775-702FDF7EE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4FAE36-22DA-4CEF-82CE-F85F3D6E5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249992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0AC2F0-B610-42BD-9258-BE4E8A479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594586C-48B1-4459-A0A6-DFA4C0FE3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618E00B-DFA9-4ABA-9E89-EC4C6B3AC9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E3D956F-D736-467D-809E-A6B8EBBB7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4.12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A2BC7A4-764C-4169-ADBC-7F1248B44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88FFD62-2584-4271-8B43-930689E42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405233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5F6CA7-4510-4C38-AB29-269B0667E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25F525D-76F8-4F89-ACDB-370F1E3E47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0513CD65-3F93-416A-8079-50A6B39FD2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FE6EB9A-EACF-42B5-8677-B501B2A42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4.12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CB2E11-5C59-4983-B23C-940503135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284666C-EC8D-44A8-94DD-5735F9059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79097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C593D8-E6C3-42E0-91E5-34BBFE763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D27C9F-D286-49AD-B637-AB03985B6A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051D3F-4680-4DFE-9D28-92707289C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4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A2C8DA-A4B9-4CA7-8902-C297ECB62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C9B13D-3976-43E2-9805-3E309ABC7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6871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2A4CD9B6-8A80-4B59-B5D5-0A7202A073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D6E8B14-04CE-430A-97C5-E63E3AC624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A124C15-1E21-44AA-B0CF-567922D2D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4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77C4AD0-92D5-4BED-AD8D-2078F6B78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065E49F-34C0-46C8-AAEF-3C9FAFE7C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326330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2921412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0347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DC58920C-B9EC-4A94-B9EB-451592F3EED9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A3C58891-14E6-4818-B969-C72F93F087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B49FBB4-BF51-45C2-86CA-B4502DA62936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14" name="Skupina 13">
              <a:extLst>
                <a:ext uri="{FF2B5EF4-FFF2-40B4-BE49-F238E27FC236}">
                  <a16:creationId xmlns:a16="http://schemas.microsoft.com/office/drawing/2014/main" id="{1533BE81-CFEE-48A9-AF03-143EC513CB79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BA1D09A-64DD-4910-BF60-CC7075472A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8" name="Obrázek 1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3A04F306-61D6-499B-9F34-24714C7AFEA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62747C58-6152-448D-9270-C4FE61C51F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07777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115433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41028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6814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08205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920660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115318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al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57251005-B581-4C6B-9623-FE7C9E672C61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2ABA8342-40EF-4EF8-878F-E756BF1AAB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EC133C2D-E49B-4A76-8E4C-79637436790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02342" y="93094"/>
            <a:ext cx="4017507" cy="504000"/>
            <a:chOff x="5972087" y="329946"/>
            <a:chExt cx="6026262" cy="73700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7B0E7EF1-130B-4AF3-9B9B-F57B675459BE}"/>
                </a:ext>
              </a:extLst>
            </p:cNvPr>
            <p:cNvGrpSpPr/>
            <p:nvPr userDrawn="1"/>
          </p:nvGrpSpPr>
          <p:grpSpPr>
            <a:xfrm>
              <a:off x="8116661" y="331276"/>
              <a:ext cx="3881688" cy="450808"/>
              <a:chOff x="8214317" y="331276"/>
              <a:chExt cx="3881688" cy="450808"/>
            </a:xfrm>
          </p:grpSpPr>
          <p:pic>
            <p:nvPicPr>
              <p:cNvPr id="14" name="Grafický objekt 13">
                <a:extLst>
                  <a:ext uri="{FF2B5EF4-FFF2-40B4-BE49-F238E27FC236}">
                    <a16:creationId xmlns:a16="http://schemas.microsoft.com/office/drawing/2014/main" id="{5A70A0E6-773C-4F6E-853C-28A61AEF1D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71177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5" name="Obrázek 14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7F95AEA6-4367-4B52-93A3-3068041EC41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31276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ABAFA576-D9BF-4267-9BD2-2B78AD34E6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054070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8312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520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A61EBA-4FFF-4673-9BA0-55E82F9925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6FDA1FA-15B4-46DB-8563-9D168899EC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0E34FA4-860E-40B4-97AD-3CF9B2CE9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4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DD889F8-1CC5-41C1-BAF5-5D6BD0F6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A22AC9-06BD-4427-B62E-52F6A58CB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139218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30E577-8B32-4569-AC3C-76D6F2F6B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410C648-E034-410B-B01B-87701C835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5F7769-50EF-4D0F-97C4-6A5E9227B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4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B6DB6D5-8367-4F80-AF41-87D069C8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F10414-C935-472D-B8FC-16EBD0EE0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23185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BCBB21-C0F1-4B2B-8A1C-15DD2EBAB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818461-3C43-44FE-80B9-D048BFA8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07805A-C211-4BDC-8A7C-50C017CD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4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CF91BA1-1C1F-4294-9B84-82D31143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B89D46F-E6FD-4433-AE57-F03CFCFF8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375455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Relationship Id="rId9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63" r:id="rId3"/>
    <p:sldLayoutId id="2147483661" r:id="rId4"/>
    <p:sldLayoutId id="2147483665" r:id="rId5"/>
    <p:sldLayoutId id="2147483672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58AF7D2-4ED1-4129-9DE6-4BC40E78B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4C08E0B-8703-4F4B-A221-FA41C8EDA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CDA1AE-D051-4265-B739-BBADD05EDA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58D0A-07E9-4A68-88A0-7C25FDBBE4AC}" type="datetimeFigureOut">
              <a:rPr lang="cs-CZ" smtClean="0"/>
              <a:t>04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14082-EF73-46FC-8343-A2A358277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2998947-0E69-43B5-8B05-739CE4C1B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59173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520971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10" Type="http://schemas.openxmlformats.org/officeDocument/2006/relationships/chart" Target="../charts/chart9.xml"/><Relationship Id="rId4" Type="http://schemas.openxmlformats.org/officeDocument/2006/relationships/tags" Target="../tags/tag5.xml"/><Relationship Id="rId9" Type="http://schemas.openxmlformats.org/officeDocument/2006/relationships/notesSlide" Target="../notesSlides/notesSlide2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chart" Target="../charts/chart10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10" Type="http://schemas.openxmlformats.org/officeDocument/2006/relationships/chart" Target="../charts/chart11.xml"/><Relationship Id="rId4" Type="http://schemas.openxmlformats.org/officeDocument/2006/relationships/tags" Target="../tags/tag14.xml"/><Relationship Id="rId9" Type="http://schemas.openxmlformats.org/officeDocument/2006/relationships/notesSlide" Target="../notesSlides/notesSlide2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4" Type="http://schemas.openxmlformats.org/officeDocument/2006/relationships/chart" Target="../charts/chart12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10" Type="http://schemas.openxmlformats.org/officeDocument/2006/relationships/chart" Target="../charts/chart13.xml"/><Relationship Id="rId4" Type="http://schemas.openxmlformats.org/officeDocument/2006/relationships/tags" Target="../tags/tag23.xml"/><Relationship Id="rId9" Type="http://schemas.openxmlformats.org/officeDocument/2006/relationships/notesSlide" Target="../notesSlides/notesSlide2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4" Type="http://schemas.openxmlformats.org/officeDocument/2006/relationships/chart" Target="../charts/chart14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10" Type="http://schemas.openxmlformats.org/officeDocument/2006/relationships/chart" Target="../charts/chart15.xml"/><Relationship Id="rId4" Type="http://schemas.openxmlformats.org/officeDocument/2006/relationships/tags" Target="../tags/tag32.xml"/><Relationship Id="rId9" Type="http://schemas.openxmlformats.org/officeDocument/2006/relationships/notesSlide" Target="../notesSlides/notesSlide2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8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38.xml"/><Relationship Id="rId7" Type="http://schemas.openxmlformats.org/officeDocument/2006/relationships/chart" Target="../charts/chart16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40.xml"/><Relationship Id="rId4" Type="http://schemas.openxmlformats.org/officeDocument/2006/relationships/tags" Target="../tags/tag39.xml"/><Relationship Id="rId9" Type="http://schemas.microsoft.com/office/2007/relationships/hdphoto" Target="../media/hdphoto1.wdp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45.xml"/><Relationship Id="rId7" Type="http://schemas.openxmlformats.org/officeDocument/2006/relationships/chart" Target="../charts/chart17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47.xml"/><Relationship Id="rId4" Type="http://schemas.openxmlformats.org/officeDocument/2006/relationships/tags" Target="../tags/tag46.xml"/><Relationship Id="rId9" Type="http://schemas.microsoft.com/office/2007/relationships/hdphoto" Target="../media/hdphoto1.wdp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49.xml"/><Relationship Id="rId1" Type="http://schemas.openxmlformats.org/officeDocument/2006/relationships/tags" Target="../tags/tag48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52.xml"/><Relationship Id="rId7" Type="http://schemas.openxmlformats.org/officeDocument/2006/relationships/chart" Target="../charts/chart18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54.xml"/><Relationship Id="rId4" Type="http://schemas.openxmlformats.org/officeDocument/2006/relationships/tags" Target="../tags/tag53.xml"/><Relationship Id="rId9" Type="http://schemas.microsoft.com/office/2007/relationships/hdphoto" Target="../media/hdphoto1.wdp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56.xml"/><Relationship Id="rId1" Type="http://schemas.openxmlformats.org/officeDocument/2006/relationships/tags" Target="../tags/tag55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59.xml"/><Relationship Id="rId7" Type="http://schemas.openxmlformats.org/officeDocument/2006/relationships/chart" Target="../charts/chart19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61.xml"/><Relationship Id="rId4" Type="http://schemas.openxmlformats.org/officeDocument/2006/relationships/tags" Target="../tags/tag60.xml"/><Relationship Id="rId9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63.xml"/><Relationship Id="rId1" Type="http://schemas.openxmlformats.org/officeDocument/2006/relationships/tags" Target="../tags/tag6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4" Type="http://schemas.openxmlformats.org/officeDocument/2006/relationships/chart" Target="../charts/chart2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Zdravotničtí pracovníci: souhrnný přehled stavu očkování a zátěže COVID-19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11904359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69149" y="1996486"/>
            <a:ext cx="11853702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ysoká úroveň proočkovanosti je patrná u pracovník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akutní lůžkové péči a v záchranné zdravotnické službě: lékaři 88 % a sestry 83 %. Přesto </a:t>
            </a:r>
            <a:r>
              <a:rPr lang="cs-CZ" sz="3200" b="1" dirty="0">
                <a:latin typeface="Arial" panose="020B0604020202020204"/>
              </a:rPr>
              <a:t>i v této kategorii existuje prostor k posílení očkování, zejména v některých moravských regionech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Šipka dolů 10"/>
          <p:cNvSpPr/>
          <p:nvPr/>
        </p:nvSpPr>
        <p:spPr>
          <a:xfrm>
            <a:off x="5390575" y="4652888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49095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zdravotníci v nemocnicích akutní lůžkové péče a ZZS</a:t>
            </a:r>
          </a:p>
        </p:txBody>
      </p:sp>
      <p:graphicFrame>
        <p:nvGraphicFramePr>
          <p:cNvPr id="9" name="Chart 6">
            <a:extLst>
              <a:ext uri="{FF2B5EF4-FFF2-40B4-BE49-F238E27FC236}">
                <a16:creationId xmlns:a16="http://schemas.microsoft.com/office/drawing/2014/main" id="{95B21923-74CC-4971-8ACF-75603B949F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05782212"/>
              </p:ext>
            </p:extLst>
          </p:nvPr>
        </p:nvGraphicFramePr>
        <p:xfrm>
          <a:off x="10136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7">
            <a:extLst>
              <a:ext uri="{FF2B5EF4-FFF2-40B4-BE49-F238E27FC236}">
                <a16:creationId xmlns:a16="http://schemas.microsoft.com/office/drawing/2014/main" id="{859ED9E0-6A53-405A-BD02-85A115DFB578}"/>
              </a:ext>
            </a:extLst>
          </p:cNvPr>
          <p:cNvSpPr txBox="1"/>
          <p:nvPr/>
        </p:nvSpPr>
        <p:spPr>
          <a:xfrm>
            <a:off x="1653004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8DE006A4-47CC-483A-94C2-37A91796F0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8309885"/>
              </p:ext>
            </p:extLst>
          </p:nvPr>
        </p:nvGraphicFramePr>
        <p:xfrm>
          <a:off x="5070251" y="1245141"/>
          <a:ext cx="1013589" cy="5010075"/>
        </p:xfrm>
        <a:graphic>
          <a:graphicData uri="http://schemas.openxmlformats.org/drawingml/2006/table">
            <a:tbl>
              <a:tblPr/>
              <a:tblGrid>
                <a:gridCol w="1013589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9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354140"/>
            <a:ext cx="810516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14" name="TextBox 7">
            <a:extLst>
              <a:ext uri="{FF2B5EF4-FFF2-40B4-BE49-F238E27FC236}">
                <a16:creationId xmlns:a16="http://schemas.microsoft.com/office/drawing/2014/main" id="{F1F59839-6B54-4C6A-814C-0F7D2FA4596F}"/>
              </a:ext>
            </a:extLst>
          </p:cNvPr>
          <p:cNvSpPr txBox="1"/>
          <p:nvPr/>
        </p:nvSpPr>
        <p:spPr>
          <a:xfrm>
            <a:off x="267310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Lékaři </a:t>
            </a:r>
            <a:r>
              <a:rPr lang="cs-CZ" sz="1400" dirty="0"/>
              <a:t>(včetně zubních lékařů)</a:t>
            </a:r>
            <a:endParaRPr lang="cs-CZ" dirty="0"/>
          </a:p>
        </p:txBody>
      </p:sp>
      <p:graphicFrame>
        <p:nvGraphicFramePr>
          <p:cNvPr id="15" name="Chart 6">
            <a:extLst>
              <a:ext uri="{FF2B5EF4-FFF2-40B4-BE49-F238E27FC236}">
                <a16:creationId xmlns:a16="http://schemas.microsoft.com/office/drawing/2014/main" id="{04728811-3D14-4440-A95A-65B5E4851A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84142153"/>
              </p:ext>
            </p:extLst>
          </p:nvPr>
        </p:nvGraphicFramePr>
        <p:xfrm>
          <a:off x="6185074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TextBox 7">
            <a:extLst>
              <a:ext uri="{FF2B5EF4-FFF2-40B4-BE49-F238E27FC236}">
                <a16:creationId xmlns:a16="http://schemas.microsoft.com/office/drawing/2014/main" id="{68CBEAFC-AB11-4E0B-8467-5B7AAE3834DA}"/>
              </a:ext>
            </a:extLst>
          </p:cNvPr>
          <p:cNvSpPr txBox="1"/>
          <p:nvPr/>
        </p:nvSpPr>
        <p:spPr>
          <a:xfrm>
            <a:off x="7827942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8E50632-3864-418D-91C6-3A9FEBF812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884450"/>
              </p:ext>
            </p:extLst>
          </p:nvPr>
        </p:nvGraphicFramePr>
        <p:xfrm>
          <a:off x="11181969" y="1244893"/>
          <a:ext cx="950976" cy="5010075"/>
        </p:xfrm>
        <a:graphic>
          <a:graphicData uri="http://schemas.openxmlformats.org/drawingml/2006/table">
            <a:tbl>
              <a:tblPr/>
              <a:tblGrid>
                <a:gridCol w="950976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2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 1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8" name="TextBox 7">
            <a:extLst>
              <a:ext uri="{FF2B5EF4-FFF2-40B4-BE49-F238E27FC236}">
                <a16:creationId xmlns:a16="http://schemas.microsoft.com/office/drawing/2014/main" id="{0A250D1E-21AE-452B-8E14-DA72C406298D}"/>
              </a:ext>
            </a:extLst>
          </p:cNvPr>
          <p:cNvSpPr txBox="1"/>
          <p:nvPr/>
        </p:nvSpPr>
        <p:spPr>
          <a:xfrm>
            <a:off x="6442248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Sestry*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FD5F7F0-9879-44F5-8A51-0926E63C659F}"/>
              </a:ext>
            </a:extLst>
          </p:cNvPr>
          <p:cNvSpPr/>
          <p:nvPr/>
        </p:nvSpPr>
        <p:spPr>
          <a:xfrm>
            <a:off x="8410574" y="6354140"/>
            <a:ext cx="342900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/>
              <a:t>*Sestry</a:t>
            </a:r>
            <a:r>
              <a:rPr lang="cs-CZ" sz="1100" dirty="0"/>
              <a:t> - § 5 Všeobecná sestra, § 5a Dětská sestra, § 6 Porodní asistentka, § 21b Praktická sestra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5427835" y="596549"/>
            <a:ext cx="20097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400" b="1" dirty="0"/>
              <a:t>Stav k 2. 12. 2021 </a:t>
            </a:r>
          </a:p>
        </p:txBody>
      </p:sp>
    </p:spTree>
    <p:extLst>
      <p:ext uri="{BB962C8B-B14F-4D97-AF65-F5344CB8AC3E}">
        <p14:creationId xmlns:p14="http://schemas.microsoft.com/office/powerpoint/2010/main" val="29716961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552450" y="833301"/>
            <a:ext cx="1103947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zi skupinami zdravotnických pracovníků je nejnižší proočkovanost u nelékařských zdravotnických pracovníků, která dosahuje 80 %.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73256" y="3241554"/>
            <a:ext cx="1185370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př. profese sanitáře a fyzioterapeuta patřila mezi nejčastěji nakažené, jak dokládají reprezentativní data. Přitom jde o pracovníky s velkým počtem kontaktů ve zdravotnických zařízeních. Posílení očkování i u těchto zdravotnických profesí je potřebné. 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289224" y="6024699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289224" y="256834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3300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01-12 / 2021 k 2. 12.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0553929A-22E7-4A3C-B2A6-F2301789E83D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200" b="1" dirty="0"/>
              <a:t>Stav k 2. 12. 2021</a:t>
            </a:r>
          </a:p>
        </p:txBody>
      </p:sp>
    </p:spTree>
    <p:extLst>
      <p:ext uri="{BB962C8B-B14F-4D97-AF65-F5344CB8AC3E}">
        <p14:creationId xmlns:p14="http://schemas.microsoft.com/office/powerpoint/2010/main" val="16451423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10-12 / 2021 k 2. 12.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CE819702-3927-4B90-94FB-62346EEA34F0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200" b="1" dirty="0"/>
              <a:t>Stav k 2. 12. 2021</a:t>
            </a:r>
          </a:p>
        </p:txBody>
      </p:sp>
    </p:spTree>
    <p:extLst>
      <p:ext uri="{BB962C8B-B14F-4D97-AF65-F5344CB8AC3E}">
        <p14:creationId xmlns:p14="http://schemas.microsoft.com/office/powerpoint/2010/main" val="11197486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aktivní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2. 12. 2021 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1960104"/>
              </p:ext>
            </p:extLst>
          </p:nvPr>
        </p:nvGraphicFramePr>
        <p:xfrm>
          <a:off x="356585" y="1390933"/>
          <a:ext cx="11273440" cy="42738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67965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68436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sz="1600" dirty="0"/>
                        <a:t>evidovaní v NZIS**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čet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díl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85223301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0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39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5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355133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17754198"/>
                  </a:ext>
                </a:extLst>
              </a:tr>
              <a:tr h="52218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  <a:p>
                      <a:pPr algn="l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§ 8 Radiologický asistent, § 9 Zdravotní laborant, § 26 Odborný pracovník v laboratorních metodách a v přípravě léčivých přípravků, § 30 Laboratorní asistent, § 41 Autoptický laborant)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89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30714590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1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9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</a:tbl>
          </a:graphicData>
        </a:graphic>
      </p:graphicFrame>
      <p:sp>
        <p:nvSpPr>
          <p:cNvPr id="11" name="Obdélník 10">
            <a:extLst>
              <a:ext uri="{FF2B5EF4-FFF2-40B4-BE49-F238E27FC236}">
                <a16:creationId xmlns:a16="http://schemas.microsoft.com/office/drawing/2014/main" id="{6BEBD7D0-42BD-498C-808F-66E0FCBEB10D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43583781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4EA81E55-B142-407F-8475-DE862B59D642}"/>
              </a:ext>
            </a:extLst>
          </p:cNvPr>
          <p:cNvGraphicFramePr>
            <a:graphicFrameLocks noGrp="1"/>
          </p:cNvGraphicFramePr>
          <p:nvPr/>
        </p:nvGraphicFramePr>
        <p:xfrm>
          <a:off x="1943099" y="1600200"/>
          <a:ext cx="9946013" cy="4556745"/>
        </p:xfrm>
        <a:graphic>
          <a:graphicData uri="http://schemas.openxmlformats.org/drawingml/2006/table">
            <a:tbl>
              <a:tblPr/>
              <a:tblGrid>
                <a:gridCol w="1420859">
                  <a:extLst>
                    <a:ext uri="{9D8B030D-6E8A-4147-A177-3AD203B41FA5}">
                      <a16:colId xmlns:a16="http://schemas.microsoft.com/office/drawing/2014/main" val="4025592812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2166595912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3411215354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450992662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1175356156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2949179538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985122218"/>
                    </a:ext>
                  </a:extLst>
                </a:gridCol>
              </a:tblGrid>
              <a:tr h="303783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5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2118316"/>
                  </a:ext>
                </a:extLst>
              </a:tr>
              <a:tr h="303783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CE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3C8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144322"/>
                  </a:ext>
                </a:extLst>
              </a:tr>
              <a:tr h="303783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5D1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5D1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9194476"/>
                  </a:ext>
                </a:extLst>
              </a:tr>
              <a:tr h="303783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BCA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D0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DA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9091470"/>
                  </a:ext>
                </a:extLst>
              </a:tr>
              <a:tr h="303783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1922600"/>
                  </a:ext>
                </a:extLst>
              </a:tr>
              <a:tr h="303783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D2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C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909498"/>
                  </a:ext>
                </a:extLst>
              </a:tr>
              <a:tr h="303783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A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6CD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B6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3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2922120"/>
                  </a:ext>
                </a:extLst>
              </a:tr>
              <a:tr h="303783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CF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8837750"/>
                  </a:ext>
                </a:extLst>
              </a:tr>
              <a:tr h="303783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5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F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6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F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B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3615519"/>
                  </a:ext>
                </a:extLst>
              </a:tr>
              <a:tr h="303783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7C9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2D1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2089963"/>
                  </a:ext>
                </a:extLst>
              </a:tr>
              <a:tr h="303783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8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7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1426608"/>
                  </a:ext>
                </a:extLst>
              </a:tr>
              <a:tr h="303783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D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47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1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B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87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860317"/>
                  </a:ext>
                </a:extLst>
              </a:tr>
              <a:tr h="303783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8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9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B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2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D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E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1359340"/>
                  </a:ext>
                </a:extLst>
              </a:tr>
              <a:tr h="303783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A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66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1870761"/>
                  </a:ext>
                </a:extLst>
              </a:tr>
              <a:tr h="303783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8218958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NLZP v nemocnicích akutní lůžkové péče a ZZS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401765"/>
            <a:ext cx="1175324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pPr algn="ctr"/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297312" y="614100"/>
            <a:ext cx="19696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2. 12. 2021 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02BA253-3FCF-4619-85EA-CE8807BFEB8A}"/>
              </a:ext>
            </a:extLst>
          </p:cNvPr>
          <p:cNvGraphicFramePr>
            <a:graphicFrameLocks noGrp="1"/>
          </p:cNvGraphicFramePr>
          <p:nvPr/>
        </p:nvGraphicFramePr>
        <p:xfrm>
          <a:off x="302889" y="921878"/>
          <a:ext cx="11586222" cy="5235072"/>
        </p:xfrm>
        <a:graphic>
          <a:graphicData uri="http://schemas.openxmlformats.org/drawingml/2006/table">
            <a:tbl>
              <a:tblPr/>
              <a:tblGrid>
                <a:gridCol w="1640944">
                  <a:extLst>
                    <a:ext uri="{9D8B030D-6E8A-4147-A177-3AD203B41FA5}">
                      <a16:colId xmlns:a16="http://schemas.microsoft.com/office/drawing/2014/main" val="974880782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441195149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3499224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0480325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85756655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038756237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34387120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3794948740"/>
                    </a:ext>
                  </a:extLst>
                </a:gridCol>
              </a:tblGrid>
              <a:tr h="657859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rmaceuti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armaceut, § 19 Farmaceutický asistent)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36 Ošetřovatel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42 Sanit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18 Zdravotnický záchran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24 Fyzioterapeut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boratorní pracovníci *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NLZP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825326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9 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7 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89 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1 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5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2 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2 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952797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 (8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05 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 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 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7 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7 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26160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 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1 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6 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 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0 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2 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9404468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4 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9 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 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3 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 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5881402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7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9 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 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078210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9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 (8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42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5 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 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5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7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2802116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 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4 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 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 (7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 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8 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742844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8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7 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9 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 (7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9 (7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 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030945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8 (7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 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 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 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1198027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0 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 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 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 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3674140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 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06 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8 (7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 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76 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5 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339702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 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8 (7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 (7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7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6 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 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7693671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 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8 (7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7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7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 (7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 (7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90746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 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0 (7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96 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 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 (7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4 (7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3 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10140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13 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58 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767 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875 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63 (8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69 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614 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49192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EE8DF9DD-84CF-4A37-A410-0264FC601949}"/>
              </a:ext>
            </a:extLst>
          </p:cNvPr>
          <p:cNvSpPr/>
          <p:nvPr/>
        </p:nvSpPr>
        <p:spPr>
          <a:xfrm>
            <a:off x="1476376" y="6151138"/>
            <a:ext cx="1054448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§ 8 Radiologický asistent, § 9 Zdravotní laborant, § 26 Odborný pracovník v laboratorních metodách a v přípravě léčivých přípravků, § 30 Laboratorní asistent, § 41 Autoptický laborant</a:t>
            </a:r>
            <a:endParaRPr lang="cs-CZ" sz="1000" dirty="0"/>
          </a:p>
        </p:txBody>
      </p:sp>
    </p:spTree>
    <p:extLst>
      <p:ext uri="{BB962C8B-B14F-4D97-AF65-F5344CB8AC3E}">
        <p14:creationId xmlns:p14="http://schemas.microsoft.com/office/powerpoint/2010/main" val="34148535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1F409DC4-4371-47D5-948F-7F3C62AE8E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8305178"/>
              </p:ext>
            </p:extLst>
          </p:nvPr>
        </p:nvGraphicFramePr>
        <p:xfrm>
          <a:off x="2419350" y="1343819"/>
          <a:ext cx="9600585" cy="4477928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134934906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62996653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60049900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83182446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65689199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82638310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91525335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5759605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65878022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11793428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90796765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58131851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55906337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31794665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287689406"/>
                    </a:ext>
                  </a:extLst>
                </a:gridCol>
              </a:tblGrid>
              <a:tr h="344456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856563"/>
                  </a:ext>
                </a:extLst>
              </a:tr>
              <a:tr h="344456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1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B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3853768"/>
                  </a:ext>
                </a:extLst>
              </a:tr>
              <a:tr h="344456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9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0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0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4702931"/>
                  </a:ext>
                </a:extLst>
              </a:tr>
              <a:tr h="344456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7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E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0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37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1636693"/>
                  </a:ext>
                </a:extLst>
              </a:tr>
              <a:tr h="344456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7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5458529"/>
                  </a:ext>
                </a:extLst>
              </a:tr>
              <a:tr h="344456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7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6C4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0243366"/>
                  </a:ext>
                </a:extLst>
              </a:tr>
              <a:tr h="344456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7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8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5451082"/>
                  </a:ext>
                </a:extLst>
              </a:tr>
              <a:tr h="344456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DCA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7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4911734"/>
                  </a:ext>
                </a:extLst>
              </a:tr>
              <a:tr h="344456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4496087"/>
                  </a:ext>
                </a:extLst>
              </a:tr>
              <a:tr h="344456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6753545"/>
                  </a:ext>
                </a:extLst>
              </a:tr>
              <a:tr h="344456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5334249"/>
                  </a:ext>
                </a:extLst>
              </a:tr>
              <a:tr h="344456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616936"/>
                  </a:ext>
                </a:extLst>
              </a:tr>
              <a:tr h="344456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7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4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E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0101209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í lékaři* podle typu zdravotnického zařízení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2. 12. 2021 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D48C377-98E3-4540-BFE1-BA921AC0BA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8722177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41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2</a:t>
                      </a:r>
                      <a:b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1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4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</a:t>
                      </a:r>
                      <a:b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8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</a:t>
                      </a:r>
                      <a:b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4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0</a:t>
                      </a:r>
                      <a:b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7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  <a:b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3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  <a:b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5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Lékaři včetně zubních lékařů; jedna osoba může pracovat ve více krajích </a:t>
            </a:r>
            <a:r>
              <a:rPr lang="cs-CZ" sz="1100" dirty="0">
                <a:solidFill>
                  <a:srgbClr val="000000"/>
                </a:solidFill>
              </a:rPr>
              <a:t>a ve více typech zdravotnických zařízení. 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2148492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32C3C4FA-1DAB-4712-90B7-1D89C5A4A8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6420460"/>
              </p:ext>
            </p:extLst>
          </p:nvPr>
        </p:nvGraphicFramePr>
        <p:xfrm>
          <a:off x="2419350" y="1344962"/>
          <a:ext cx="9600585" cy="44844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120771022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51872233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27456830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31829681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75733105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68992412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800430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74405806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01820399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91474601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64624685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08723551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83764177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07427782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546112096"/>
                    </a:ext>
                  </a:extLst>
                </a:gridCol>
              </a:tblGrid>
              <a:tr h="3449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6638321"/>
                  </a:ext>
                </a:extLst>
              </a:tr>
              <a:tr h="3449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1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6929627"/>
                  </a:ext>
                </a:extLst>
              </a:tr>
              <a:tr h="3449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D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1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6611452"/>
                  </a:ext>
                </a:extLst>
              </a:tr>
              <a:tr h="3449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6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8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4041226"/>
                  </a:ext>
                </a:extLst>
              </a:tr>
              <a:tr h="3449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4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D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7314496"/>
                  </a:ext>
                </a:extLst>
              </a:tr>
              <a:tr h="3449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DCA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6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1666182"/>
                  </a:ext>
                </a:extLst>
              </a:tr>
              <a:tr h="3449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9461472"/>
                  </a:ext>
                </a:extLst>
              </a:tr>
              <a:tr h="3449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4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7232883"/>
                  </a:ext>
                </a:extLst>
              </a:tr>
              <a:tr h="3449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309390"/>
                  </a:ext>
                </a:extLst>
              </a:tr>
              <a:tr h="3449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8495283"/>
                  </a:ext>
                </a:extLst>
              </a:tr>
              <a:tr h="3449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F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8056387"/>
                  </a:ext>
                </a:extLst>
              </a:tr>
              <a:tr h="3449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06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2568240"/>
                  </a:ext>
                </a:extLst>
              </a:tr>
              <a:tr h="3449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8C9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0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5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7457708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é sestry* podle typu zdravotnického zařízení</a:t>
            </a: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§ 5 Všeobecná sestra, § 5a Dětská sestra, § 6 Porodní asistentka, § 21b Praktická sestra; jedna osoba může pracovat ve více krajích </a:t>
            </a:r>
            <a:r>
              <a:rPr lang="cs-CZ" sz="1100" dirty="0">
                <a:solidFill>
                  <a:srgbClr val="000000"/>
                </a:solidFill>
              </a:rPr>
              <a:t>a ve více typech zdravotnických zařízení.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7D8455FB-AA19-461A-A8C9-7539A364F2DC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2. 12. 2021 </a:t>
            </a:r>
          </a:p>
        </p:txBody>
      </p:sp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AF1561B3-7273-473B-A2DD-A77D8870E0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6535409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1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8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8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0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47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2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2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7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3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6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8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44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67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4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870923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E3F7E410-9C5F-462B-86FD-444A6BC8A23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108270"/>
              </p:ext>
            </p:extLst>
          </p:nvPr>
        </p:nvGraphicFramePr>
        <p:xfrm>
          <a:off x="2419350" y="1344962"/>
          <a:ext cx="9600585" cy="44844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95616331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53480511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23544947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20290578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87706789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73158486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61268435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68460165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62251030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68734164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52831643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26071325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57062109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76577665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069910836"/>
                    </a:ext>
                  </a:extLst>
                </a:gridCol>
              </a:tblGrid>
              <a:tr h="3449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4203923"/>
                  </a:ext>
                </a:extLst>
              </a:tr>
              <a:tr h="3449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F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B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2231357"/>
                  </a:ext>
                </a:extLst>
              </a:tr>
              <a:tr h="3449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1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5017988"/>
                  </a:ext>
                </a:extLst>
              </a:tr>
              <a:tr h="3449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A7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D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8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1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8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8248600"/>
                  </a:ext>
                </a:extLst>
              </a:tr>
              <a:tr h="3449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F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5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3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7428867"/>
                  </a:ext>
                </a:extLst>
              </a:tr>
              <a:tr h="3449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1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1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3225582"/>
                  </a:ext>
                </a:extLst>
              </a:tr>
              <a:tr h="3449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7475529"/>
                  </a:ext>
                </a:extLst>
              </a:tr>
              <a:tr h="3449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EC6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1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1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3830565"/>
                  </a:ext>
                </a:extLst>
              </a:tr>
              <a:tr h="3449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4070401"/>
                  </a:ext>
                </a:extLst>
              </a:tr>
              <a:tr h="3449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0672429"/>
                  </a:ext>
                </a:extLst>
              </a:tr>
              <a:tr h="3449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DA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5878236"/>
                  </a:ext>
                </a:extLst>
              </a:tr>
              <a:tr h="3449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5828946"/>
                  </a:ext>
                </a:extLst>
              </a:tr>
              <a:tr h="3449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9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1501259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í ostatní ZP* podle typu zdravotnického zařízení</a:t>
            </a: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NLZP § 7 až § 42 kromě § 21b, farmaceuti; jedna osoba může pracovat ve více krajích a ve více typech zdravotnických zařízení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8BE7577-D0D0-4CAF-8960-5C7A9603C643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2. 12. 2021 </a:t>
            </a:r>
          </a:p>
        </p:txBody>
      </p:sp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50FC5E21-D439-468C-9A0B-56B392BA28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161092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7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36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6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1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4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9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1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65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56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73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09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52786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4400" dirty="0">
                <a:solidFill>
                  <a:srgbClr val="000000"/>
                </a:solidFill>
              </a:rPr>
              <a:t>Přehled stavu očkování ZP </a:t>
            </a:r>
            <a:endParaRPr kumimoji="0" lang="cs-CZ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1428029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oučasné nákazy a virová zátěž ZP 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242921182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(incid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2. 12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448D1D-2E05-45CA-A866-143DDBF5BA0C}"/>
              </a:ext>
            </a:extLst>
          </p:cNvPr>
          <p:cNvGraphicFramePr/>
          <p:nvPr/>
        </p:nvGraphicFramePr>
        <p:xfrm>
          <a:off x="142875" y="1119730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09675"/>
          <a:ext cx="4661411" cy="5209594"/>
        </p:xfrm>
        <a:graphic>
          <a:graphicData uri="http://schemas.openxmlformats.org/drawingml/2006/table">
            <a:tbl>
              <a:tblPr/>
              <a:tblGrid>
                <a:gridCol w="145311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40544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02075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7280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 denní klouzavý průměr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poslední den)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1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1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9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3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1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2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9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8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7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3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0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0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1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9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0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4 (3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35 (1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33 (1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3 (26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cxnSp>
        <p:nvCxnSpPr>
          <p:cNvPr id="14" name="Straight Connector 4">
            <a:extLst>
              <a:ext uri="{FF2B5EF4-FFF2-40B4-BE49-F238E27FC236}">
                <a16:creationId xmlns:a16="http://schemas.microsoft.com/office/drawing/2014/main" id="{F5F70D9E-87A2-4BFA-BE04-CC7F4241D0B4}"/>
              </a:ext>
            </a:extLst>
          </p:cNvPr>
          <p:cNvCxnSpPr/>
          <p:nvPr/>
        </p:nvCxnSpPr>
        <p:spPr>
          <a:xfrm>
            <a:off x="5606765" y="1702345"/>
            <a:ext cx="216000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">
            <a:extLst>
              <a:ext uri="{FF2B5EF4-FFF2-40B4-BE49-F238E27FC236}">
                <a16:creationId xmlns:a16="http://schemas.microsoft.com/office/drawing/2014/main" id="{39CA3BBA-412B-4A3C-ADC1-DAF4B494D04F}"/>
              </a:ext>
            </a:extLst>
          </p:cNvPr>
          <p:cNvSpPr txBox="1"/>
          <p:nvPr/>
        </p:nvSpPr>
        <p:spPr>
          <a:xfrm>
            <a:off x="5789707" y="1533071"/>
            <a:ext cx="1341224" cy="597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00"/>
              </a:lnSpc>
              <a:spcBef>
                <a:spcPts val="60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7 denní klouzavý průměr</a:t>
            </a:r>
          </a:p>
          <a:p>
            <a:pPr>
              <a:lnSpc>
                <a:spcPts val="1100"/>
              </a:lnSpc>
              <a:spcBef>
                <a:spcPts val="60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denní hodnoty</a:t>
            </a:r>
          </a:p>
        </p:txBody>
      </p:sp>
      <p:cxnSp>
        <p:nvCxnSpPr>
          <p:cNvPr id="17" name="Straight Connector 4">
            <a:extLst>
              <a:ext uri="{FF2B5EF4-FFF2-40B4-BE49-F238E27FC236}">
                <a16:creationId xmlns:a16="http://schemas.microsoft.com/office/drawing/2014/main" id="{49368D80-8513-4AF4-B12A-04F7F7E5994A}"/>
              </a:ext>
            </a:extLst>
          </p:cNvPr>
          <p:cNvCxnSpPr/>
          <p:nvPr/>
        </p:nvCxnSpPr>
        <p:spPr>
          <a:xfrm>
            <a:off x="5606765" y="1997620"/>
            <a:ext cx="216000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5">
            <a:extLst>
              <a:ext uri="{FF2B5EF4-FFF2-40B4-BE49-F238E27FC236}">
                <a16:creationId xmlns:a16="http://schemas.microsoft.com/office/drawing/2014/main" id="{5F83CAAA-A3F3-4137-A444-807362C84989}"/>
              </a:ext>
            </a:extLst>
          </p:cNvPr>
          <p:cNvSpPr txBox="1"/>
          <p:nvPr/>
        </p:nvSpPr>
        <p:spPr>
          <a:xfrm>
            <a:off x="5492063" y="2907371"/>
            <a:ext cx="1341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>
                <a:latin typeface="Calibri" panose="020F0502020204030204" pitchFamily="34" charset="0"/>
                <a:cs typeface="Calibri" panose="020F0502020204030204" pitchFamily="34" charset="0"/>
              </a:rPr>
              <a:t>Poslední den:</a:t>
            </a:r>
          </a:p>
        </p:txBody>
      </p:sp>
    </p:spTree>
    <p:extLst>
      <p:ext uri="{BB962C8B-B14F-4D97-AF65-F5344CB8AC3E}">
        <p14:creationId xmlns:p14="http://schemas.microsoft.com/office/powerpoint/2010/main" val="42614330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4E2462CD-2C28-4222-9D6A-55BCDDF9CD02}"/>
              </a:ext>
            </a:extLst>
          </p:cNvPr>
          <p:cNvGraphicFramePr/>
          <p:nvPr/>
        </p:nvGraphicFramePr>
        <p:xfrm>
          <a:off x="142875" y="1083825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ktuální počet COVID-19 pozitivních (preval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2. 12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56231"/>
          <a:ext cx="4752977" cy="5154086"/>
        </p:xfrm>
        <a:graphic>
          <a:graphicData uri="http://schemas.openxmlformats.org/drawingml/2006/table">
            <a:tbl>
              <a:tblPr/>
              <a:tblGrid>
                <a:gridCol w="1456505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8466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8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 7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7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5731907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aktivních lékařů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5A29735D-E67B-4582-988F-B716296F695C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09441263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2783236E-7848-4370-8C68-345D039C0ED3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882886430"/>
              </p:ext>
            </p:ext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9. 10.–4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11.–11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11.–18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11.–25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 11.–2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4.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25.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20.4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8.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1241455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8" y="2"/>
            <a:ext cx="8438411" cy="576000"/>
          </a:xfrm>
        </p:spPr>
        <p:txBody>
          <a:bodyPr/>
          <a:lstStyle/>
          <a:p>
            <a:r>
              <a:rPr lang="cs-CZ" dirty="0"/>
              <a:t>Počty COVID-19 pozitivních na 100 000 osob v populaci lékařů</a:t>
            </a: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7639354"/>
              </p:ext>
            </p:ext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58189" y="1757297"/>
            <a:ext cx="1438102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lékařů (suma za hodnocený časový úsek)</a:t>
            </a:r>
          </a:p>
        </p:txBody>
      </p:sp>
    </p:spTree>
    <p:extLst>
      <p:ext uri="{BB962C8B-B14F-4D97-AF65-F5344CB8AC3E}">
        <p14:creationId xmlns:p14="http://schemas.microsoft.com/office/powerpoint/2010/main" val="5771561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aktivních sester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9128C58E-C8E1-4A9A-AA38-61B78B4C5A96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011812099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49BB5BC4-8F9B-4AC8-9A14-74B8F167DD4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877756307"/>
              </p:ext>
            </p:ext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9. 10.–4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11.–11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11.–18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11.–25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 11.–2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1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3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23.9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29.4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29.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9.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9911537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8102694" cy="576000"/>
          </a:xfrm>
        </p:spPr>
        <p:txBody>
          <a:bodyPr/>
          <a:lstStyle/>
          <a:p>
            <a:r>
              <a:rPr lang="cs-CZ" dirty="0"/>
              <a:t>Počty COVID-19 pozitivních na 100 000 osob v populaci sester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49877" y="1757297"/>
            <a:ext cx="1392507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sester (suma za hodnocený časový úsek)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8682F60F-46D8-48C4-9BAF-DC595C3B4A5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3241365"/>
              </p:ext>
            </p:ext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09760720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ostatních ZP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9128C58E-C8E1-4A9A-AA38-61B78B4C5A96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51712213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49BB5BC4-8F9B-4AC8-9A14-74B8F167DD4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733674238"/>
              </p:ext>
            </p:ext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9. 10.–4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11.–11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11.–18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11.–25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 11.–2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0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1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0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4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5.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28.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34.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4.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592090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8" y="2"/>
            <a:ext cx="8647961" cy="576000"/>
          </a:xfrm>
        </p:spPr>
        <p:txBody>
          <a:bodyPr/>
          <a:lstStyle/>
          <a:p>
            <a:r>
              <a:rPr lang="cs-CZ" dirty="0"/>
              <a:t>Počty COVID-19 pozitivních na 100 000 osob v populaci ostatních ZP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1757297"/>
            <a:ext cx="1254858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ostatních ZP (suma za hodnocený časový úsek)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77767C90-51A5-48DE-BF7F-14E45D3CD23E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4452679"/>
              </p:ext>
            </p:ext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55750590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ZP CELKEM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53E2D82D-108B-4D73-94F6-FBD731C2D303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429512597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F11535AB-AF88-4B35-89FD-7232D9821B31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825456933"/>
              </p:ext>
            </p:ext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9. 10.–4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11.–11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11.–18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11.–25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 11.–2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7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8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1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1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8.9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28.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30.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1.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45009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322440" y="1046604"/>
            <a:ext cx="1160170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aktuálně aktivně působících zdravotnických pracovníků má alespoň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 dávku vakcinace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8 % lékařů</a:t>
            </a: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3 % sesterských povolání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0 % ostatních zdravotnických povolání</a:t>
            </a: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9" name="Šipka dolů 8"/>
          <p:cNvSpPr/>
          <p:nvPr/>
        </p:nvSpPr>
        <p:spPr>
          <a:xfrm>
            <a:off x="5554864" y="2902204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322440" y="3696653"/>
            <a:ext cx="11189401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očkovanost ZP během první poloviny listopadu mírně vzrostla, a to ve všech profesních skupinách. Celková proočkovanost ZP dosáhla 82,6 % (jen ZP skutečně aktivní ve zdravotnictví)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513717" y="6070096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233332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6D12ADA4-F32A-4FD6-9770-32AD61EDCEE9}"/>
              </a:ext>
            </a:extLst>
          </p:cNvPr>
          <p:cNvGraphicFramePr>
            <a:graphicFrameLocks noGrp="1"/>
          </p:cNvGraphicFramePr>
          <p:nvPr/>
        </p:nvGraphicFramePr>
        <p:xfrm>
          <a:off x="2333625" y="2262291"/>
          <a:ext cx="9284988" cy="3619725"/>
        </p:xfrm>
        <a:graphic>
          <a:graphicData uri="http://schemas.openxmlformats.org/drawingml/2006/table">
            <a:tbl>
              <a:tblPr/>
              <a:tblGrid>
                <a:gridCol w="773749">
                  <a:extLst>
                    <a:ext uri="{9D8B030D-6E8A-4147-A177-3AD203B41FA5}">
                      <a16:colId xmlns:a16="http://schemas.microsoft.com/office/drawing/2014/main" val="428147416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2869584844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809087319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2787657187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4287116856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1584770766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3844639601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16682452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668549693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82358985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2930552011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1380452965"/>
                    </a:ext>
                  </a:extLst>
                </a:gridCol>
              </a:tblGrid>
              <a:tr h="24131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7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8B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FC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2502899"/>
                  </a:ext>
                </a:extLst>
              </a:tr>
              <a:tr h="24131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8B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8254861"/>
                  </a:ext>
                </a:extLst>
              </a:tr>
              <a:tr h="24131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4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9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E9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2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5853784"/>
                  </a:ext>
                </a:extLst>
              </a:tr>
              <a:tr h="24131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4A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2B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1162398"/>
                  </a:ext>
                </a:extLst>
              </a:tr>
              <a:tr h="24131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3868691"/>
                  </a:ext>
                </a:extLst>
              </a:tr>
              <a:tr h="24131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A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A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9B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6236978"/>
                  </a:ext>
                </a:extLst>
              </a:tr>
              <a:tr h="24131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5148984"/>
                  </a:ext>
                </a:extLst>
              </a:tr>
              <a:tr h="24131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0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6C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8649853"/>
                  </a:ext>
                </a:extLst>
              </a:tr>
              <a:tr h="24131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FA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B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2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4423328"/>
                  </a:ext>
                </a:extLst>
              </a:tr>
              <a:tr h="24131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C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2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0804016"/>
                  </a:ext>
                </a:extLst>
              </a:tr>
              <a:tr h="24131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D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F9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38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A8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2226124"/>
                  </a:ext>
                </a:extLst>
              </a:tr>
              <a:tr h="24131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6C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68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E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064334"/>
                  </a:ext>
                </a:extLst>
              </a:tr>
              <a:tr h="24131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2357550"/>
                  </a:ext>
                </a:extLst>
              </a:tr>
              <a:tr h="24131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89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28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A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2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1188475"/>
                  </a:ext>
                </a:extLst>
              </a:tr>
              <a:tr h="241315"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3A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6A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5A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5A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7121732"/>
                  </a:ext>
                </a:extLst>
              </a:tr>
            </a:tbl>
          </a:graphicData>
        </a:graphic>
      </p:graphicFrame>
      <p:sp>
        <p:nvSpPr>
          <p:cNvPr id="10" name="TextovéPole 5">
            <a:extLst>
              <a:ext uri="{FF2B5EF4-FFF2-40B4-BE49-F238E27FC236}">
                <a16:creationId xmlns:a16="http://schemas.microsoft.com/office/drawing/2014/main" id="{E3A22678-EE0A-4F0C-80A0-91CC52509AD0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E238D39-7489-4465-AC4A-2E3C5F72A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145" y="2"/>
            <a:ext cx="7502895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1D66D047-1A81-43A9-AEC0-D36353A2C52D}"/>
              </a:ext>
            </a:extLst>
          </p:cNvPr>
          <p:cNvSpPr/>
          <p:nvPr/>
        </p:nvSpPr>
        <p:spPr>
          <a:xfrm>
            <a:off x="607274" y="64668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lang="cs-CZ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Aktuální počet COVID-19 pozitivních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2. 12. 2021 </a:t>
            </a:r>
            <a:endParaRPr lang="cs-CZ" sz="2000" b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5E2859C-4D5B-4818-B563-9E4138B938E9}"/>
              </a:ext>
            </a:extLst>
          </p:cNvPr>
          <p:cNvGraphicFramePr>
            <a:graphicFrameLocks noGrp="1"/>
          </p:cNvGraphicFramePr>
          <p:nvPr/>
        </p:nvGraphicFramePr>
        <p:xfrm>
          <a:off x="672701" y="1101986"/>
          <a:ext cx="10945906" cy="4780030"/>
        </p:xfrm>
        <a:graphic>
          <a:graphicData uri="http://schemas.openxmlformats.org/drawingml/2006/table">
            <a:tbl>
              <a:tblPr/>
              <a:tblGrid>
                <a:gridCol w="167042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533895005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1606111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422552456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401237711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36622183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915136564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5601179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711815336"/>
                    </a:ext>
                  </a:extLst>
                </a:gridCol>
              </a:tblGrid>
              <a:tr h="553235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614705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1881938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C60E1484-55C4-4B6F-A638-3236D2A6D736}"/>
              </a:ext>
            </a:extLst>
          </p:cNvPr>
          <p:cNvSpPr txBox="1"/>
          <p:nvPr/>
        </p:nvSpPr>
        <p:spPr>
          <a:xfrm>
            <a:off x="2209088" y="5966151"/>
            <a:ext cx="97513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>
                <a:latin typeface="Calibri" panose="020F0502020204030204" pitchFamily="34" charset="0"/>
                <a:cs typeface="Calibri" panose="020F0502020204030204" pitchFamily="34" charset="0"/>
              </a:rPr>
              <a:t>* Úvazky včetně smluvních pracovníků za rok 2019 podle statistických zjišťování MZ za rok 2019, v</a:t>
            </a: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ýkaz</a:t>
            </a:r>
            <a:r>
              <a:rPr lang="cs-CZ" sz="1200" dirty="0">
                <a:latin typeface="Calibri" panose="020F0502020204030204" pitchFamily="34" charset="0"/>
                <a:cs typeface="Calibri" panose="020F0502020204030204" pitchFamily="34" charset="0"/>
              </a:rPr>
              <a:t>y</a:t>
            </a: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 E (MZ) 2-01, E (MZ) 3-01 a E (MZ) 4-01</a:t>
            </a:r>
            <a:endParaRPr lang="cs-CZ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D38389EE-F8C1-4AAD-BB2B-BF9F71F72F8C}"/>
              </a:ext>
            </a:extLst>
          </p:cNvPr>
          <p:cNvSpPr txBox="1"/>
          <p:nvPr/>
        </p:nvSpPr>
        <p:spPr>
          <a:xfrm>
            <a:off x="4911603" y="6276375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/>
              <a:t>Barevná škála vizualizuje rozsah hodnot v územích v rámci sledovaného ukazatele (sloupce)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1834C1AC-8D63-45D3-ADC1-6A054BF785C6}"/>
              </a:ext>
            </a:extLst>
          </p:cNvPr>
          <p:cNvGrpSpPr/>
          <p:nvPr/>
        </p:nvGrpSpPr>
        <p:grpSpPr>
          <a:xfrm>
            <a:off x="2768481" y="6338662"/>
            <a:ext cx="2143122" cy="171474"/>
            <a:chOff x="2185672" y="6586960"/>
            <a:chExt cx="2143122" cy="171474"/>
          </a:xfrm>
        </p:grpSpPr>
        <p:sp>
          <p:nvSpPr>
            <p:cNvPr id="22" name="TextovéPole 21">
              <a:extLst>
                <a:ext uri="{FF2B5EF4-FFF2-40B4-BE49-F238E27FC236}">
                  <a16:creationId xmlns:a16="http://schemas.microsoft.com/office/drawing/2014/main" id="{9B93F5A1-61AB-4ADF-8174-6F49ABD78FD6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cs-CZ" sz="1000" dirty="0"/>
                <a:t>min %                                    max %</a:t>
              </a:r>
            </a:p>
          </p:txBody>
        </p:sp>
        <p:pic>
          <p:nvPicPr>
            <p:cNvPr id="24" name="Obrázek 23">
              <a:extLst>
                <a:ext uri="{FF2B5EF4-FFF2-40B4-BE49-F238E27FC236}">
                  <a16:creationId xmlns:a16="http://schemas.microsoft.com/office/drawing/2014/main" id="{A9AA69C9-AA2B-4055-9A8C-660DAE0AD60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75572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18532669-6E00-4C5F-AE4A-2EF606E387C3}"/>
              </a:ext>
            </a:extLst>
          </p:cNvPr>
          <p:cNvGraphicFramePr>
            <a:graphicFrameLocks noGrp="1"/>
          </p:cNvGraphicFramePr>
          <p:nvPr/>
        </p:nvGraphicFramePr>
        <p:xfrm>
          <a:off x="3787774" y="1996281"/>
          <a:ext cx="7347392" cy="3996645"/>
        </p:xfrm>
        <a:graphic>
          <a:graphicData uri="http://schemas.openxmlformats.org/drawingml/2006/table">
            <a:tbl>
              <a:tblPr/>
              <a:tblGrid>
                <a:gridCol w="1836848">
                  <a:extLst>
                    <a:ext uri="{9D8B030D-6E8A-4147-A177-3AD203B41FA5}">
                      <a16:colId xmlns:a16="http://schemas.microsoft.com/office/drawing/2014/main" val="2690222888"/>
                    </a:ext>
                  </a:extLst>
                </a:gridCol>
                <a:gridCol w="1836848">
                  <a:extLst>
                    <a:ext uri="{9D8B030D-6E8A-4147-A177-3AD203B41FA5}">
                      <a16:colId xmlns:a16="http://schemas.microsoft.com/office/drawing/2014/main" val="3665576662"/>
                    </a:ext>
                  </a:extLst>
                </a:gridCol>
                <a:gridCol w="1836848">
                  <a:extLst>
                    <a:ext uri="{9D8B030D-6E8A-4147-A177-3AD203B41FA5}">
                      <a16:colId xmlns:a16="http://schemas.microsoft.com/office/drawing/2014/main" val="1272916638"/>
                    </a:ext>
                  </a:extLst>
                </a:gridCol>
                <a:gridCol w="1836848">
                  <a:extLst>
                    <a:ext uri="{9D8B030D-6E8A-4147-A177-3AD203B41FA5}">
                      <a16:colId xmlns:a16="http://schemas.microsoft.com/office/drawing/2014/main" val="3044709415"/>
                    </a:ext>
                  </a:extLst>
                </a:gridCol>
              </a:tblGrid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3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6785838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0C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5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3504894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0C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B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3934896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2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2453007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1676998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C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D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2184009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135350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8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9760475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2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C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4421249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2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7020198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1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2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58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A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9272745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A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F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3170566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5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D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8146612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6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F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2262787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0084299"/>
                  </a:ext>
                </a:extLst>
              </a:tr>
            </a:tbl>
          </a:graphicData>
        </a:graphic>
      </p:graphicFrame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(ZP) s nákazou COVID-19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1093858" y="1238720"/>
          <a:ext cx="10041310" cy="4754200"/>
        </p:xfrm>
        <a:graphic>
          <a:graphicData uri="http://schemas.openxmlformats.org/drawingml/2006/table">
            <a:tbl>
              <a:tblPr/>
              <a:tblGrid>
                <a:gridCol w="269440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76394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Počet celkem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(*z toho v nemocnicích akutní lůžkové péče / ambulance PL, PLDD, PL gynekolog / ambulance zubního lékaře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44 / 5 / 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 (92 / 12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 (48 / 2 / 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5 (184 / 19 / 2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7 / 5 / 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 (35 / 3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 (29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 (71 / 8 / 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9 / 1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 (39 / 1 / 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15 / -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63 / 2 / 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2 / 3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22 / 4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22 / -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 (56 / 7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2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5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8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6 / 2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(40 / 3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16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 (62 / 5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3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7 / 3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0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20 / 4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5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35 / 1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22 / -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62 / 2 / 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5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18 / 1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10 / -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 (33 / 2 / 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4 / 2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6 / 1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10 / -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 (40 / 3 / 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1 / 7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85 / 10 / 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 (56 / - / 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2 (162 / 17 / 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9 / 3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42 / 5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25 / 1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 (76 / 9 / 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12 / 5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 (50 / 3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19 / -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81 / 8 / 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4 / 10 / 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 (97 / 12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 (38 / - / 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7 (149 / 22 / 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0 (153 / 46 / 4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8 (593 / 59 / 3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3 (321 / 3 / 4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1 (1067 / 108 / 1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6" name="Obdélník 4">
            <a:extLst>
              <a:ext uri="{FF2B5EF4-FFF2-40B4-BE49-F238E27FC236}">
                <a16:creationId xmlns:a16="http://schemas.microsoft.com/office/drawing/2014/main" id="{CF4F4DD4-5D05-4AA4-B6B7-30E2E7BF4344}"/>
              </a:ext>
            </a:extLst>
          </p:cNvPr>
          <p:cNvSpPr/>
          <p:nvPr/>
        </p:nvSpPr>
        <p:spPr>
          <a:xfrm>
            <a:off x="609693" y="72472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za 7denní období 26. 11. – 2. 12. 2021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7DA84AC6-10F0-4D41-9F1A-6572994DE132}"/>
              </a:ext>
            </a:extLst>
          </p:cNvPr>
          <p:cNvSpPr txBox="1"/>
          <p:nvPr/>
        </p:nvSpPr>
        <p:spPr>
          <a:xfrm>
            <a:off x="3707125" y="6081831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/>
              <a:t>Barevné škály vizualizují rozsah hodnot v územích v rámci sledovaného ukazatele (sloupce)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648325E5-F71A-402A-B781-52C4AA1B55C4}"/>
              </a:ext>
            </a:extLst>
          </p:cNvPr>
          <p:cNvSpPr txBox="1"/>
          <p:nvPr/>
        </p:nvSpPr>
        <p:spPr>
          <a:xfrm>
            <a:off x="1495631" y="6316806"/>
            <a:ext cx="9383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* zdravotničtí pracovníci mohou být zaměstnáni ve více typech zdravotnických zařízení a jsou pak započítáni do každé příslušné skupiny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747C38F7-A7F7-4B0C-9D0A-01511E1A6161}"/>
              </a:ext>
            </a:extLst>
          </p:cNvPr>
          <p:cNvGrpSpPr/>
          <p:nvPr/>
        </p:nvGrpSpPr>
        <p:grpSpPr>
          <a:xfrm>
            <a:off x="1592578" y="6134593"/>
            <a:ext cx="2143122" cy="171474"/>
            <a:chOff x="2185672" y="6586960"/>
            <a:chExt cx="2143122" cy="171474"/>
          </a:xfrm>
        </p:grpSpPr>
        <p:sp>
          <p:nvSpPr>
            <p:cNvPr id="18" name="TextovéPole 17">
              <a:extLst>
                <a:ext uri="{FF2B5EF4-FFF2-40B4-BE49-F238E27FC236}">
                  <a16:creationId xmlns:a16="http://schemas.microsoft.com/office/drawing/2014/main" id="{159EDEC4-9347-43EC-A452-533F0BDD4739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cs-CZ" sz="1000" dirty="0"/>
                <a:t>min %                                    max %</a:t>
              </a:r>
            </a:p>
          </p:txBody>
        </p:sp>
        <p:pic>
          <p:nvPicPr>
            <p:cNvPr id="19" name="Obrázek 18">
              <a:extLst>
                <a:ext uri="{FF2B5EF4-FFF2-40B4-BE49-F238E27FC236}">
                  <a16:creationId xmlns:a16="http://schemas.microsoft.com/office/drawing/2014/main" id="{67B50C2A-82CD-4E17-A551-738737906C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6100071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6"/>
            <a:ext cx="12192000" cy="1890853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I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ákazy zdravotnických pracovníků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 ochranný efekt očkování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23631487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9A6C5758-F634-4719-AB93-A6AA9C800B7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2445202"/>
              </p:ext>
            </p:ext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09330" y="3624"/>
            <a:ext cx="1060071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 v populaci lékařů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A0B88B6-A122-42D4-8249-DE000D8A7E7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262595" y="1110693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ékaři</a:t>
            </a:r>
          </a:p>
        </p:txBody>
      </p:sp>
      <p:graphicFrame>
        <p:nvGraphicFramePr>
          <p:cNvPr id="14" name="Tabulka 6">
            <a:extLst>
              <a:ext uri="{FF2B5EF4-FFF2-40B4-BE49-F238E27FC236}">
                <a16:creationId xmlns:a16="http://schemas.microsoft.com/office/drawing/2014/main" id="{2437943F-BD8E-4C02-97C2-1582C83DCB1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8846924" y="1020334"/>
          <a:ext cx="2954284" cy="1381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54284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Bez očkování nebo 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U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</a:tbl>
          </a:graphicData>
        </a:graphic>
      </p:graphicFrame>
      <p:pic>
        <p:nvPicPr>
          <p:cNvPr id="7" name="Obrázek 6">
            <a:extLst>
              <a:ext uri="{FF2B5EF4-FFF2-40B4-BE49-F238E27FC236}">
                <a16:creationId xmlns:a16="http://schemas.microsoft.com/office/drawing/2014/main" id="{82641AFC-1605-4F41-BF39-23E7E7AF4C2B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10000" r="90000">
                        <a14:foregroundMark x1="27451" y1="71591" x2="77451" y2="72727"/>
                        <a14:foregroundMark x1="59804" y1="71591" x2="59804" y2="71591"/>
                        <a14:foregroundMark x1="69608" y1="72727" x2="69608" y2="72727"/>
                        <a14:foregroundMark x1="28431" y1="29545" x2="28431" y2="29545"/>
                        <a14:foregroundMark x1="49329" y1="29545" x2="78431" y2="29545"/>
                        <a14:foregroundMark x1="29412" y1="29545" x2="30970" y2="29545"/>
                        <a14:foregroundMark x1="78431" y1="29545" x2="79412" y2="29545"/>
                        <a14:foregroundMark x1="79412" y1="31818" x2="79412" y2="31818"/>
                        <a14:foregroundMark x1="80392" y1="30682" x2="77451" y2="30682"/>
                        <a14:foregroundMark x1="24510" y1="29545" x2="29412" y2="30682"/>
                        <a14:foregroundMark x1="24510" y1="30682" x2="29412" y2="30682"/>
                        <a14:foregroundMark x1="48214" y1="31818" x2="77451" y2="31818"/>
                        <a14:foregroundMark x1="34314" y1="28409" x2="49020" y2="29545"/>
                        <a14:foregroundMark x1="32353" y1="31818" x2="78431" y2="31818"/>
                        <a14:foregroundMark x1="77451" y1="32955" x2="77451" y2="32955"/>
                        <a14:foregroundMark x1="78431" y1="32955" x2="78431" y2="32955"/>
                        <a14:foregroundMark x1="77451" y1="32955" x2="77451" y2="32955"/>
                        <a14:foregroundMark x1="78431" y1="32955" x2="76471" y2="31818"/>
                        <a14:backgroundMark x1="30392" y1="13636" x2="33872" y2="13636"/>
                        <a14:backgroundMark x1="34314" y1="22727" x2="37765" y2="2196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 flipV="1">
            <a:off x="8112043" y="1418957"/>
            <a:ext cx="917518" cy="1089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373254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 - lékaři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/>
        </p:nvSpPr>
        <p:spPr>
          <a:xfrm>
            <a:off x="3535052" y="626914"/>
            <a:ext cx="4054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</a:t>
            </a:r>
            <a:r>
              <a:rPr kumimoji="0" lang="cs-CZ" sz="20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kařů</a:t>
            </a: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/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0" name="Table 5">
            <a:extLst>
              <a:ext uri="{FF2B5EF4-FFF2-40B4-BE49-F238E27FC236}">
                <a16:creationId xmlns:a16="http://schemas.microsoft.com/office/drawing/2014/main" id="{10F4A238-310C-43D5-9DDD-97D20F84F44C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4434442"/>
              </p:ext>
            </p:extLst>
          </p:nvPr>
        </p:nvGraphicFramePr>
        <p:xfrm>
          <a:off x="1777230" y="533334"/>
          <a:ext cx="9468550" cy="3982614"/>
        </p:xfrm>
        <a:graphic>
          <a:graphicData uri="http://schemas.openxmlformats.org/drawingml/2006/table">
            <a:tbl>
              <a:tblPr/>
              <a:tblGrid>
                <a:gridCol w="1814911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8431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2238871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3176337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 a bez do</a:t>
                      </a:r>
                      <a:r>
                        <a:rPr lang="en-US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n</a:t>
                      </a:r>
                      <a:r>
                        <a:rPr lang="cs-CZ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čeného</a:t>
                      </a: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edukce nákaz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o dokončeném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1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6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7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8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0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3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1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4899942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6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7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676902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0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9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0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23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4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54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</a:tbl>
          </a:graphicData>
        </a:graphic>
      </p:graphicFrame>
      <p:sp>
        <p:nvSpPr>
          <p:cNvPr id="12" name="TextBox 6">
            <a:extLst>
              <a:ext uri="{FF2B5EF4-FFF2-40B4-BE49-F238E27FC236}">
                <a16:creationId xmlns:a16="http://schemas.microsoft.com/office/drawing/2014/main" id="{4E5136DD-EA08-44B4-9244-D47999FE566C}"/>
              </a:ext>
            </a:extLst>
          </p:cNvPr>
          <p:cNvSpPr txBox="1"/>
          <p:nvPr/>
        </p:nvSpPr>
        <p:spPr>
          <a:xfrm>
            <a:off x="1671371" y="4569204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2. 12. 2021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5B5B0BB0-5406-461D-A320-1D46AFD62DAA}"/>
              </a:ext>
            </a:extLst>
          </p:cNvPr>
          <p:cNvSpPr txBox="1"/>
          <p:nvPr/>
        </p:nvSpPr>
        <p:spPr>
          <a:xfrm>
            <a:off x="262533" y="5010468"/>
            <a:ext cx="117652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vakcinace proti nákaze v čase klesá. Populace zdravotnických pracovníků je v tomto ohledu velmi důležitý model – jednak byli očkování mezi prvními na počátku 2021 a jednak jde o profesní skupinu primárně vystavenou riziku nákazy. Zásadním faktem ovšem je, že ochranný efekt vakcinace proti těžkému průběhu nemoci trvá i v této profesní kategorii. V současnosti registrujeme pouze jednotky ZP s těžším průběhem nemoci po očkování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317804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BCCEF7F4-60D7-46B4-B95D-88F70A4D4E2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323759"/>
              </p:ext>
            </p:ext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09330" y="3624"/>
            <a:ext cx="11691878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 v populaci sester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A0B88B6-A122-42D4-8249-DE000D8A7E7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564955" y="1215468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stry</a:t>
            </a:r>
          </a:p>
        </p:txBody>
      </p:sp>
      <p:graphicFrame>
        <p:nvGraphicFramePr>
          <p:cNvPr id="14" name="Tabulka 6">
            <a:extLst>
              <a:ext uri="{FF2B5EF4-FFF2-40B4-BE49-F238E27FC236}">
                <a16:creationId xmlns:a16="http://schemas.microsoft.com/office/drawing/2014/main" id="{2437943F-BD8E-4C02-97C2-1582C83DCB1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8846924" y="1020334"/>
          <a:ext cx="2954284" cy="1381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54284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Bez očkování nebo 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U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</a:tbl>
          </a:graphicData>
        </a:graphic>
      </p:graphicFrame>
      <p:pic>
        <p:nvPicPr>
          <p:cNvPr id="8" name="Obrázek 7">
            <a:extLst>
              <a:ext uri="{FF2B5EF4-FFF2-40B4-BE49-F238E27FC236}">
                <a16:creationId xmlns:a16="http://schemas.microsoft.com/office/drawing/2014/main" id="{3D86CEB2-6B62-4921-BB74-B46CF4D5A227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10000" r="90000">
                        <a14:foregroundMark x1="27451" y1="71591" x2="77451" y2="72727"/>
                        <a14:foregroundMark x1="59804" y1="71591" x2="59804" y2="71591"/>
                        <a14:foregroundMark x1="69608" y1="72727" x2="69608" y2="72727"/>
                        <a14:foregroundMark x1="28431" y1="29545" x2="28431" y2="29545"/>
                        <a14:foregroundMark x1="49329" y1="29545" x2="78431" y2="29545"/>
                        <a14:foregroundMark x1="29412" y1="29545" x2="30970" y2="29545"/>
                        <a14:foregroundMark x1="78431" y1="29545" x2="79412" y2="29545"/>
                        <a14:foregroundMark x1="79412" y1="31818" x2="79412" y2="31818"/>
                        <a14:foregroundMark x1="80392" y1="30682" x2="77451" y2="30682"/>
                        <a14:foregroundMark x1="24510" y1="29545" x2="29412" y2="30682"/>
                        <a14:foregroundMark x1="24510" y1="30682" x2="29412" y2="30682"/>
                        <a14:foregroundMark x1="48214" y1="31818" x2="77451" y2="31818"/>
                        <a14:foregroundMark x1="34314" y1="28409" x2="49020" y2="29545"/>
                        <a14:foregroundMark x1="32353" y1="31818" x2="78431" y2="31818"/>
                        <a14:foregroundMark x1="77451" y1="32955" x2="77451" y2="32955"/>
                        <a14:foregroundMark x1="78431" y1="32955" x2="78431" y2="32955"/>
                        <a14:foregroundMark x1="77451" y1="32955" x2="77451" y2="32955"/>
                        <a14:foregroundMark x1="78431" y1="32955" x2="76471" y2="31818"/>
                        <a14:backgroundMark x1="30392" y1="13636" x2="33872" y2="13636"/>
                        <a14:backgroundMark x1="34314" y1="22727" x2="37765" y2="2196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 flipV="1">
            <a:off x="8112043" y="1418957"/>
            <a:ext cx="917518" cy="1089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826151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 - sestry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/>
        </p:nvSpPr>
        <p:spPr>
          <a:xfrm>
            <a:off x="3350326" y="561308"/>
            <a:ext cx="4054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sester 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/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0" name="Table 5">
            <a:extLst>
              <a:ext uri="{FF2B5EF4-FFF2-40B4-BE49-F238E27FC236}">
                <a16:creationId xmlns:a16="http://schemas.microsoft.com/office/drawing/2014/main" id="{FAFEA63F-04FB-40D6-90F8-9B8C35D88AED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4664463"/>
              </p:ext>
            </p:extLst>
          </p:nvPr>
        </p:nvGraphicFramePr>
        <p:xfrm>
          <a:off x="1417014" y="561308"/>
          <a:ext cx="9468550" cy="3982614"/>
        </p:xfrm>
        <a:graphic>
          <a:graphicData uri="http://schemas.openxmlformats.org/drawingml/2006/table">
            <a:tbl>
              <a:tblPr/>
              <a:tblGrid>
                <a:gridCol w="1814911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8431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2238871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3176337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 a bez do</a:t>
                      </a:r>
                      <a:r>
                        <a:rPr lang="en-US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n</a:t>
                      </a:r>
                      <a:r>
                        <a:rPr lang="cs-CZ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čeného</a:t>
                      </a: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edukce nákaz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o dokončeném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8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3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6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2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6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1456686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1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9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7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0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3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4899942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7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9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7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61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71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3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</a:tbl>
          </a:graphicData>
        </a:graphic>
      </p:graphicFrame>
      <p:sp>
        <p:nvSpPr>
          <p:cNvPr id="12" name="TextBox 6">
            <a:extLst>
              <a:ext uri="{FF2B5EF4-FFF2-40B4-BE49-F238E27FC236}">
                <a16:creationId xmlns:a16="http://schemas.microsoft.com/office/drawing/2014/main" id="{A1BE29D4-5059-46A8-8336-40CC2C52E68C}"/>
              </a:ext>
            </a:extLst>
          </p:cNvPr>
          <p:cNvSpPr txBox="1"/>
          <p:nvPr/>
        </p:nvSpPr>
        <p:spPr>
          <a:xfrm>
            <a:off x="1417014" y="4517209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2. 12. 2021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44D16114-8A1C-47F6-83C5-8DA746CAC7CE}"/>
              </a:ext>
            </a:extLst>
          </p:cNvPr>
          <p:cNvSpPr txBox="1"/>
          <p:nvPr/>
        </p:nvSpPr>
        <p:spPr>
          <a:xfrm>
            <a:off x="262533" y="5010468"/>
            <a:ext cx="117652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vakcinace proti nákaze v čase klesá. Populace zdravotnických pracovníků je v tomto ohledu velmi důležitý model – jednak byli očkování mezi prvními na počátku 2021 a jednak jde o profesní skupinu primárně vystavenou riziku nákazy. Zásadním faktem ovšem je, že ochranný efekt vakcinace proti těžkému průběhu nemoci trvá i v této profesní kategorii. V současnosti registrujeme pouze jednotky ZP s těžším průběhem nemoci po očkování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632262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7FE9486C-9D7B-4F78-A06B-1A43F68807D4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7697500"/>
              </p:ext>
            </p:ext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09330" y="3624"/>
            <a:ext cx="11232925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: populace ostatních ZP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A0B88B6-A122-42D4-8249-DE000D8A7E7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444630" y="1272618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 ZP</a:t>
            </a:r>
          </a:p>
        </p:txBody>
      </p:sp>
      <p:graphicFrame>
        <p:nvGraphicFramePr>
          <p:cNvPr id="14" name="Tabulka 6">
            <a:extLst>
              <a:ext uri="{FF2B5EF4-FFF2-40B4-BE49-F238E27FC236}">
                <a16:creationId xmlns:a16="http://schemas.microsoft.com/office/drawing/2014/main" id="{2437943F-BD8E-4C02-97C2-1582C83DCB1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8846924" y="1020334"/>
          <a:ext cx="2954284" cy="1381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54284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Bez očkování nebo 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U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</a:tbl>
          </a:graphicData>
        </a:graphic>
      </p:graphicFrame>
      <p:pic>
        <p:nvPicPr>
          <p:cNvPr id="8" name="Obrázek 7">
            <a:extLst>
              <a:ext uri="{FF2B5EF4-FFF2-40B4-BE49-F238E27FC236}">
                <a16:creationId xmlns:a16="http://schemas.microsoft.com/office/drawing/2014/main" id="{38602B0B-CEB9-4E9D-8C0C-ACF8FD6CEBD7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10000" r="90000">
                        <a14:foregroundMark x1="27451" y1="71591" x2="77451" y2="72727"/>
                        <a14:foregroundMark x1="59804" y1="71591" x2="59804" y2="71591"/>
                        <a14:foregroundMark x1="69608" y1="72727" x2="69608" y2="72727"/>
                        <a14:foregroundMark x1="28431" y1="29545" x2="28431" y2="29545"/>
                        <a14:foregroundMark x1="49329" y1="29545" x2="78431" y2="29545"/>
                        <a14:foregroundMark x1="29412" y1="29545" x2="30970" y2="29545"/>
                        <a14:foregroundMark x1="78431" y1="29545" x2="79412" y2="29545"/>
                        <a14:foregroundMark x1="79412" y1="31818" x2="79412" y2="31818"/>
                        <a14:foregroundMark x1="80392" y1="30682" x2="77451" y2="30682"/>
                        <a14:foregroundMark x1="24510" y1="29545" x2="29412" y2="30682"/>
                        <a14:foregroundMark x1="24510" y1="30682" x2="29412" y2="30682"/>
                        <a14:foregroundMark x1="48214" y1="31818" x2="77451" y2="31818"/>
                        <a14:foregroundMark x1="34314" y1="28409" x2="49020" y2="29545"/>
                        <a14:foregroundMark x1="32353" y1="31818" x2="78431" y2="31818"/>
                        <a14:foregroundMark x1="77451" y1="32955" x2="77451" y2="32955"/>
                        <a14:foregroundMark x1="78431" y1="32955" x2="78431" y2="32955"/>
                        <a14:foregroundMark x1="77451" y1="32955" x2="77451" y2="32955"/>
                        <a14:foregroundMark x1="78431" y1="32955" x2="76471" y2="31818"/>
                        <a14:backgroundMark x1="30392" y1="13636" x2="33872" y2="13636"/>
                        <a14:backgroundMark x1="34314" y1="22727" x2="37765" y2="2196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 flipV="1">
            <a:off x="8112043" y="1418957"/>
            <a:ext cx="917518" cy="1089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12828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 – ostatní ZP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/>
        </p:nvSpPr>
        <p:spPr>
          <a:xfrm>
            <a:off x="3479634" y="673357"/>
            <a:ext cx="433259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ostatních ZP 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/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8" name="Table 5">
            <a:extLst>
              <a:ext uri="{FF2B5EF4-FFF2-40B4-BE49-F238E27FC236}">
                <a16:creationId xmlns:a16="http://schemas.microsoft.com/office/drawing/2014/main" id="{EB02C89D-4557-42AD-AF89-7DAB06F8F618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2753637"/>
              </p:ext>
            </p:extLst>
          </p:nvPr>
        </p:nvGraphicFramePr>
        <p:xfrm>
          <a:off x="1666394" y="673357"/>
          <a:ext cx="9468550" cy="3982614"/>
        </p:xfrm>
        <a:graphic>
          <a:graphicData uri="http://schemas.openxmlformats.org/drawingml/2006/table">
            <a:tbl>
              <a:tblPr/>
              <a:tblGrid>
                <a:gridCol w="1814911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8431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2238871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3176337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 a bez do</a:t>
                      </a:r>
                      <a:r>
                        <a:rPr lang="en-US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n</a:t>
                      </a:r>
                      <a:r>
                        <a:rPr lang="cs-CZ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čeného</a:t>
                      </a: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edukce nákaz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o dokončeném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7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8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3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7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525693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1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2.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2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2.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4899942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1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1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9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48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92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5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</a:tbl>
          </a:graphicData>
        </a:graphic>
      </p:graphicFrame>
      <p:sp>
        <p:nvSpPr>
          <p:cNvPr id="10" name="TextBox 6">
            <a:extLst>
              <a:ext uri="{FF2B5EF4-FFF2-40B4-BE49-F238E27FC236}">
                <a16:creationId xmlns:a16="http://schemas.microsoft.com/office/drawing/2014/main" id="{53D98EF4-F012-4FF8-820F-951E602B41D7}"/>
              </a:ext>
            </a:extLst>
          </p:cNvPr>
          <p:cNvSpPr txBox="1"/>
          <p:nvPr/>
        </p:nvSpPr>
        <p:spPr>
          <a:xfrm>
            <a:off x="1598696" y="4655971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2. 12. 2021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AC4C7860-74B9-47D2-87FF-FCD709F5F14C}"/>
              </a:ext>
            </a:extLst>
          </p:cNvPr>
          <p:cNvSpPr txBox="1"/>
          <p:nvPr/>
        </p:nvSpPr>
        <p:spPr>
          <a:xfrm>
            <a:off x="262533" y="5038176"/>
            <a:ext cx="117652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vakcinace proti nákaze v čase klesá. Populace zdravotnických pracovníků je v tomto ohledu velmi důležitý model – jednak byli očkování mezi prvními na počátku 2021 a jednak jde o profesní skupinu primárně vystavenou riziku nákazy. Zásadním faktem ovšem je, že ochranný efekt vakcinace proti těžkému průběhu nemoci trvá i v této profesní kategorii. V současnosti registrujeme pouze jednotky ZP s těžším průběhem nemoci po očkování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546021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16E8B61E-7B09-49AD-B350-4EA2A0B2F245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0281092"/>
              </p:ext>
            </p:ext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09330" y="3624"/>
            <a:ext cx="11462559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 v populaci ZP celkem 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A0B88B6-A122-42D4-8249-DE000D8A7E7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888805" y="1376200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P celkem</a:t>
            </a:r>
          </a:p>
        </p:txBody>
      </p:sp>
      <p:graphicFrame>
        <p:nvGraphicFramePr>
          <p:cNvPr id="14" name="Tabulka 6">
            <a:extLst>
              <a:ext uri="{FF2B5EF4-FFF2-40B4-BE49-F238E27FC236}">
                <a16:creationId xmlns:a16="http://schemas.microsoft.com/office/drawing/2014/main" id="{2437943F-BD8E-4C02-97C2-1582C83DCB1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8846924" y="1020334"/>
          <a:ext cx="2954284" cy="1381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54284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Bez očkování nebo 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U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</a:tbl>
          </a:graphicData>
        </a:graphic>
      </p:graphicFrame>
      <p:pic>
        <p:nvPicPr>
          <p:cNvPr id="7" name="Obrázek 6">
            <a:extLst>
              <a:ext uri="{FF2B5EF4-FFF2-40B4-BE49-F238E27FC236}">
                <a16:creationId xmlns:a16="http://schemas.microsoft.com/office/drawing/2014/main" id="{1F87F473-CBAF-415A-B69A-D06AAEB5FEDE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10000" r="90000">
                        <a14:foregroundMark x1="27451" y1="71591" x2="77451" y2="72727"/>
                        <a14:foregroundMark x1="59804" y1="71591" x2="59804" y2="71591"/>
                        <a14:foregroundMark x1="69608" y1="72727" x2="69608" y2="72727"/>
                        <a14:foregroundMark x1="28431" y1="29545" x2="28431" y2="29545"/>
                        <a14:foregroundMark x1="49329" y1="29545" x2="78431" y2="29545"/>
                        <a14:foregroundMark x1="29412" y1="29545" x2="30970" y2="29545"/>
                        <a14:foregroundMark x1="78431" y1="29545" x2="79412" y2="29545"/>
                        <a14:foregroundMark x1="79412" y1="31818" x2="79412" y2="31818"/>
                        <a14:foregroundMark x1="80392" y1="30682" x2="77451" y2="30682"/>
                        <a14:foregroundMark x1="24510" y1="29545" x2="29412" y2="30682"/>
                        <a14:foregroundMark x1="24510" y1="30682" x2="29412" y2="30682"/>
                        <a14:foregroundMark x1="48214" y1="31818" x2="77451" y2="31818"/>
                        <a14:foregroundMark x1="34314" y1="28409" x2="49020" y2="29545"/>
                        <a14:foregroundMark x1="32353" y1="31818" x2="78431" y2="31818"/>
                        <a14:foregroundMark x1="77451" y1="32955" x2="77451" y2="32955"/>
                        <a14:foregroundMark x1="78431" y1="32955" x2="78431" y2="32955"/>
                        <a14:foregroundMark x1="77451" y1="32955" x2="77451" y2="32955"/>
                        <a14:foregroundMark x1="78431" y1="32955" x2="76471" y2="31818"/>
                        <a14:backgroundMark x1="30392" y1="13636" x2="33872" y2="13636"/>
                        <a14:backgroundMark x1="34314" y1="22727" x2="37765" y2="2196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 flipV="1">
            <a:off x="8112043" y="1418957"/>
            <a:ext cx="917518" cy="1089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31212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zdravotničtí pracovníci </a:t>
            </a:r>
            <a:r>
              <a:rPr lang="cs-CZ" u="sng" dirty="0"/>
              <a:t>celkem</a:t>
            </a: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0C428FC5-EA14-48AE-B731-D5EA9FEB98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6373822"/>
              </p:ext>
            </p:extLst>
          </p:nvPr>
        </p:nvGraphicFramePr>
        <p:xfrm>
          <a:off x="356585" y="1390934"/>
          <a:ext cx="11149615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23702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387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Celkový počet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7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 9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 37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 0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8 8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 6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64 99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79 6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6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. 12. 2021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C6F37292-6D98-4BA4-B894-BD354102F974}"/>
              </a:ext>
            </a:extLst>
          </p:cNvPr>
          <p:cNvSpPr/>
          <p:nvPr/>
        </p:nvSpPr>
        <p:spPr>
          <a:xfrm>
            <a:off x="330707" y="5686170"/>
            <a:ext cx="1145410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* Počet zdravotnických pracovníků </a:t>
            </a:r>
            <a:r>
              <a:rPr lang="cs-CZ" sz="1100" dirty="0">
                <a:solidFill>
                  <a:srgbClr val="000000"/>
                </a:solidFill>
              </a:rPr>
              <a:t>evidovaných v NZIS (Národní registr zdravotnických pracovníků – NRZP)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255987" y="618549"/>
            <a:ext cx="1169788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Tabulka tedy nereflektuje, zda daný ZP skutečně vykonává zdravotnické povolání v ČR. Zahrnuti jsou i ZP v seniorním, důchodovém, věku. 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60C7B47A-DD4D-4AD1-9492-34EAE5D35895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36990047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 – ZP celkem 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/>
        </p:nvSpPr>
        <p:spPr>
          <a:xfrm>
            <a:off x="3535052" y="771128"/>
            <a:ext cx="4054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ZP celkem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/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0" name="Table 5">
            <a:extLst>
              <a:ext uri="{FF2B5EF4-FFF2-40B4-BE49-F238E27FC236}">
                <a16:creationId xmlns:a16="http://schemas.microsoft.com/office/drawing/2014/main" id="{A65F9ACD-3961-458D-951B-62BFB867A8BA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1564559"/>
              </p:ext>
            </p:extLst>
          </p:nvPr>
        </p:nvGraphicFramePr>
        <p:xfrm>
          <a:off x="1666394" y="771128"/>
          <a:ext cx="9468550" cy="3982614"/>
        </p:xfrm>
        <a:graphic>
          <a:graphicData uri="http://schemas.openxmlformats.org/drawingml/2006/table">
            <a:tbl>
              <a:tblPr/>
              <a:tblGrid>
                <a:gridCol w="1814911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8431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2238871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3176337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 a bez do</a:t>
                      </a:r>
                      <a:r>
                        <a:rPr lang="en-US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n</a:t>
                      </a:r>
                      <a:r>
                        <a:rPr lang="cs-CZ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čeného</a:t>
                      </a: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edukce nákaz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o dokončeném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8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6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8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7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6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82901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1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0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1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3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9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0.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4899942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0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9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6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63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73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4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</a:tbl>
          </a:graphicData>
        </a:graphic>
      </p:graphicFrame>
      <p:sp>
        <p:nvSpPr>
          <p:cNvPr id="12" name="TextBox 6">
            <a:extLst>
              <a:ext uri="{FF2B5EF4-FFF2-40B4-BE49-F238E27FC236}">
                <a16:creationId xmlns:a16="http://schemas.microsoft.com/office/drawing/2014/main" id="{E62E2B61-6665-4653-AF65-AA7DB242ABA7}"/>
              </a:ext>
            </a:extLst>
          </p:cNvPr>
          <p:cNvSpPr txBox="1"/>
          <p:nvPr/>
        </p:nvSpPr>
        <p:spPr>
          <a:xfrm>
            <a:off x="1666394" y="4750733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2. 12. 2021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007B7F61-2FDD-429A-A54E-2F0F9482D1BE}"/>
              </a:ext>
            </a:extLst>
          </p:cNvPr>
          <p:cNvSpPr txBox="1"/>
          <p:nvPr/>
        </p:nvSpPr>
        <p:spPr>
          <a:xfrm>
            <a:off x="262533" y="5010468"/>
            <a:ext cx="117652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vakcinace proti nákaze v čase klesá. Populace zdravotnických pracovníků je v tomto ohledu velmi důležitý model – jednak byli očkování mezi prvními na počátku 2021 a jednak jde o profesní skupinu primárně vystavenou riziku nákazy. Zásadním faktem ovšem je, že ochranný efekt vakcinace proti těžkému průběhu nemoci trvá i v této profesní kategorii. V současnosti registrujeme pouze jednotky ZP s těžším průběhem nemoci po očkování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026059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97398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říloha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ákazy pracovníků sociálních služeb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(přímé hlášení od poskytovatelů)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1538267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ktuální počet COVID-19 pozitivních (preval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2. 12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 zařízeních sociálních služeb </a:t>
            </a:r>
            <a:br>
              <a:rPr lang="cs-CZ" dirty="0"/>
            </a:br>
            <a:r>
              <a:rPr lang="cs-CZ" dirty="0"/>
              <a:t>s nákazou COVID-19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448D1D-2E05-45CA-A866-143DDBF5BA0C}"/>
              </a:ext>
            </a:extLst>
          </p:cNvPr>
          <p:cNvGraphicFramePr/>
          <p:nvPr/>
        </p:nvGraphicFramePr>
        <p:xfrm>
          <a:off x="418743" y="1222049"/>
          <a:ext cx="8511611" cy="53453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9162962" y="1301496"/>
          <a:ext cx="2326326" cy="4971720"/>
        </p:xfrm>
        <a:graphic>
          <a:graphicData uri="http://schemas.openxmlformats.org/drawingml/2006/table">
            <a:tbl>
              <a:tblPr/>
              <a:tblGrid>
                <a:gridCol w="1485693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840633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51534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7" name="TextovéPole 8">
            <a:extLst>
              <a:ext uri="{FF2B5EF4-FFF2-40B4-BE49-F238E27FC236}">
                <a16:creationId xmlns:a16="http://schemas.microsoft.com/office/drawing/2014/main" id="{FDEE6DA7-8A32-4466-8C48-3BA05FF3131A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, modul sociálních služeb</a:t>
            </a:r>
          </a:p>
        </p:txBody>
      </p:sp>
    </p:spTree>
    <p:extLst>
      <p:ext uri="{BB962C8B-B14F-4D97-AF65-F5344CB8AC3E}">
        <p14:creationId xmlns:p14="http://schemas.microsoft.com/office/powerpoint/2010/main" val="420982140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, modul sociálních služeb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nově COVID-19 pozitivních pracovníků </a:t>
            </a:r>
            <a:br>
              <a:rPr lang="cs-CZ" dirty="0"/>
            </a:br>
            <a:r>
              <a:rPr lang="cs-CZ" dirty="0"/>
              <a:t>v zařízeních sociálních služeb</a:t>
            </a:r>
          </a:p>
        </p:txBody>
      </p:sp>
      <p:graphicFrame>
        <p:nvGraphicFramePr>
          <p:cNvPr id="7" name="Chart 31">
            <a:extLst>
              <a:ext uri="{FF2B5EF4-FFF2-40B4-BE49-F238E27FC236}">
                <a16:creationId xmlns:a16="http://schemas.microsoft.com/office/drawing/2014/main" id="{1A0DC1DF-8CED-49FC-A4A5-065F1A64BD52}"/>
              </a:ext>
            </a:extLst>
          </p:cNvPr>
          <p:cNvGraphicFramePr/>
          <p:nvPr/>
        </p:nvGraphicFramePr>
        <p:xfrm>
          <a:off x="407350" y="1059679"/>
          <a:ext cx="8523006" cy="5486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2">
            <a:extLst>
              <a:ext uri="{FF2B5EF4-FFF2-40B4-BE49-F238E27FC236}">
                <a16:creationId xmlns:a16="http://schemas.microsoft.com/office/drawing/2014/main" id="{FDDA473E-2198-4E37-8DAB-7936176EB801}"/>
              </a:ext>
            </a:extLst>
          </p:cNvPr>
          <p:cNvSpPr txBox="1"/>
          <p:nvPr/>
        </p:nvSpPr>
        <p:spPr>
          <a:xfrm rot="16200000">
            <a:off x="-941446" y="3165866"/>
            <a:ext cx="25875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Denní počet nových případů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B270C58A-BB49-4257-8406-1CEB47E406EE}"/>
              </a:ext>
            </a:extLst>
          </p:cNvPr>
          <p:cNvGraphicFramePr>
            <a:graphicFrameLocks noGrp="1"/>
          </p:cNvGraphicFramePr>
          <p:nvPr/>
        </p:nvGraphicFramePr>
        <p:xfrm>
          <a:off x="9060412" y="1207371"/>
          <a:ext cx="2763052" cy="5050096"/>
        </p:xfrm>
        <a:graphic>
          <a:graphicData uri="http://schemas.openxmlformats.org/drawingml/2006/table">
            <a:tbl>
              <a:tblPr/>
              <a:tblGrid>
                <a:gridCol w="1675629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087423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52037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a posledních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 dní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1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 denní klouzavý průměr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3011470"/>
                  </a:ext>
                </a:extLst>
              </a:tr>
            </a:tbl>
          </a:graphicData>
        </a:graphic>
      </p:graphicFrame>
      <p:sp>
        <p:nvSpPr>
          <p:cNvPr id="9" name="Obdélník 4">
            <a:extLst>
              <a:ext uri="{FF2B5EF4-FFF2-40B4-BE49-F238E27FC236}">
                <a16:creationId xmlns:a16="http://schemas.microsoft.com/office/drawing/2014/main" id="{81867BFA-1453-40BE-A29B-836824A9B5EE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ých COVID-19 pozitivních (incid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2. 12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cxnSp>
        <p:nvCxnSpPr>
          <p:cNvPr id="11" name="Straight Connector 4">
            <a:extLst>
              <a:ext uri="{FF2B5EF4-FFF2-40B4-BE49-F238E27FC236}">
                <a16:creationId xmlns:a16="http://schemas.microsoft.com/office/drawing/2014/main" id="{FC15B3FD-8931-45F3-B9FA-489831BF4CD0}"/>
              </a:ext>
            </a:extLst>
          </p:cNvPr>
          <p:cNvCxnSpPr/>
          <p:nvPr/>
        </p:nvCxnSpPr>
        <p:spPr>
          <a:xfrm>
            <a:off x="1075769" y="1393737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5">
            <a:extLst>
              <a:ext uri="{FF2B5EF4-FFF2-40B4-BE49-F238E27FC236}">
                <a16:creationId xmlns:a16="http://schemas.microsoft.com/office/drawing/2014/main" id="{98F82CC0-F179-44D1-AED9-4C8CAA8FCD8F}"/>
              </a:ext>
            </a:extLst>
          </p:cNvPr>
          <p:cNvSpPr txBox="1"/>
          <p:nvPr/>
        </p:nvSpPr>
        <p:spPr>
          <a:xfrm>
            <a:off x="1438027" y="1224463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364619307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802892" cy="576000"/>
          </a:xfrm>
        </p:spPr>
        <p:txBody>
          <a:bodyPr/>
          <a:lstStyle/>
          <a:p>
            <a:r>
              <a:rPr lang="cs-CZ" dirty="0"/>
              <a:t>Počty COVID-19 pozitivních na 100 000 osob v populaci pracovníků v sociálních službách</a:t>
            </a:r>
            <a:r>
              <a:rPr lang="en-US" dirty="0"/>
              <a:t>*</a:t>
            </a:r>
            <a:endParaRPr lang="cs-CZ" dirty="0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58189" y="1856023"/>
            <a:ext cx="1438102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pracovníků v sociálních službách (suma za hodnocený časový úsek)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98FA2216-F217-4BAB-A9D1-49D7EE7FFB73}"/>
              </a:ext>
            </a:extLst>
          </p:cNvPr>
          <p:cNvSpPr txBox="1"/>
          <p:nvPr/>
        </p:nvSpPr>
        <p:spPr>
          <a:xfrm>
            <a:off x="1496291" y="6211667"/>
            <a:ext cx="105730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íci v zařízeních, které zadávají informace do sociálního modulu ISIN, což odpovídá asi 82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v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š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ů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n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lu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ž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55608988-FFDF-4500-A7BA-71BB7DDEE99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6063373"/>
              </p:ext>
            </p:extLst>
          </p:nvPr>
        </p:nvGraphicFramePr>
        <p:xfrm>
          <a:off x="1330189" y="1037794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8912457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2. 12. 2021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2786522"/>
              </p:ext>
            </p:extLst>
          </p:nvPr>
        </p:nvGraphicFramePr>
        <p:xfrm>
          <a:off x="356585" y="1390934"/>
          <a:ext cx="11273439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77273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64698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1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7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 8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 4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 8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 3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8 8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5 5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2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0782301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sz="1800" dirty="0"/>
              <a:t>Očkování zdravotnických pracovníků – počty očkovaných v čas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35D0792-DA3D-4697-90DD-E7E191A14A9B}"/>
              </a:ext>
            </a:extLst>
          </p:cNvPr>
          <p:cNvSpPr txBox="1"/>
          <p:nvPr/>
        </p:nvSpPr>
        <p:spPr>
          <a:xfrm rot="16200000">
            <a:off x="-2049215" y="2820163"/>
            <a:ext cx="46818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 počet očkovaných (alespoň první dávka)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FDFE61B8-F449-4A66-9A16-364371C6A08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27992121"/>
              </p:ext>
            </p:extLst>
          </p:nvPr>
        </p:nvGraphicFramePr>
        <p:xfrm>
          <a:off x="561974" y="759913"/>
          <a:ext cx="11377929" cy="4988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35619201-FB04-4641-AC77-14154175A6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7376082"/>
              </p:ext>
            </p:extLst>
          </p:nvPr>
        </p:nvGraphicFramePr>
        <p:xfrm>
          <a:off x="10344150" y="2181222"/>
          <a:ext cx="1595753" cy="2352680"/>
        </p:xfrm>
        <a:graphic>
          <a:graphicData uri="http://schemas.openxmlformats.org/drawingml/2006/table">
            <a:tbl>
              <a:tblPr/>
              <a:tblGrid>
                <a:gridCol w="994535">
                  <a:extLst>
                    <a:ext uri="{9D8B030D-6E8A-4147-A177-3AD203B41FA5}">
                      <a16:colId xmlns:a16="http://schemas.microsoft.com/office/drawing/2014/main" val="2493138386"/>
                    </a:ext>
                  </a:extLst>
                </a:gridCol>
                <a:gridCol w="601218">
                  <a:extLst>
                    <a:ext uri="{9D8B030D-6E8A-4147-A177-3AD203B41FA5}">
                      <a16:colId xmlns:a16="http://schemas.microsoft.com/office/drawing/2014/main" val="477226283"/>
                    </a:ext>
                  </a:extLst>
                </a:gridCol>
              </a:tblGrid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P 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9 6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1664348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est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 0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0816711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tatní ZP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 6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1517692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ékař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 9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1618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25C2658B-5F4D-4E25-809A-B07FC20B8E8A}"/>
              </a:ext>
            </a:extLst>
          </p:cNvPr>
          <p:cNvSpPr/>
          <p:nvPr/>
        </p:nvSpPr>
        <p:spPr>
          <a:xfrm>
            <a:off x="1752601" y="6566046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70397ABA-C686-444D-9A37-CA5AF71FAD64}"/>
              </a:ext>
            </a:extLst>
          </p:cNvPr>
          <p:cNvSpPr txBox="1"/>
          <p:nvPr/>
        </p:nvSpPr>
        <p:spPr>
          <a:xfrm>
            <a:off x="257785" y="5774033"/>
            <a:ext cx="11800865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Zahrnuty jsou zdravotničtí pracovníci (ZP) podle hlášení povinných subjektů do NRZP (vzdělávací instituce, poskytovatelé). Celkový počet ZP zahrnuje osoby s odpovídající odbornou způsobilostí pro výkony povolání ZP* žijící k danému datu. Výstup nezohledňuje, zda daný ZP skutečně vykonává dané povolání v ČR. Zahrnuti jsou i ZP v seniorním, důchodovém, věku.</a:t>
            </a:r>
          </a:p>
          <a:p>
            <a:r>
              <a:rPr lang="cs-CZ" sz="900" dirty="0"/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</p:txBody>
      </p:sp>
    </p:spTree>
    <p:extLst>
      <p:ext uri="{BB962C8B-B14F-4D97-AF65-F5344CB8AC3E}">
        <p14:creationId xmlns:p14="http://schemas.microsoft.com/office/powerpoint/2010/main" val="5633389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Vakcinace posilující dávkou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FC5F43CD-61A6-4942-B1EB-1AFAC38D4C4A}"/>
              </a:ext>
            </a:extLst>
          </p:cNvPr>
          <p:cNvSpPr txBox="1"/>
          <p:nvPr/>
        </p:nvSpPr>
        <p:spPr>
          <a:xfrm>
            <a:off x="5686425" y="103334"/>
            <a:ext cx="2371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bg1"/>
                </a:solidFill>
              </a:rPr>
              <a:t>Stav k </a:t>
            </a:r>
            <a:r>
              <a:rPr lang="cs-CZ" b="1" dirty="0">
                <a:solidFill>
                  <a:srgbClr val="FFFFFF"/>
                </a:solidFill>
              </a:rPr>
              <a:t>2. 12. 2021</a:t>
            </a:r>
            <a:endParaRPr lang="cs-CZ" b="1" dirty="0">
              <a:solidFill>
                <a:schemeClr val="bg1"/>
              </a:solidFill>
            </a:endParaRP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05F5D353-1230-45A8-9016-8A9D8618F6E5}"/>
              </a:ext>
            </a:extLst>
          </p:cNvPr>
          <p:cNvSpPr/>
          <p:nvPr/>
        </p:nvSpPr>
        <p:spPr>
          <a:xfrm>
            <a:off x="252076" y="600164"/>
            <a:ext cx="35317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b="1" dirty="0"/>
              <a:t>Aktivní zdravotničtí pracovníci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442B2FDB-F20E-40AA-ADF4-05FC4E7F4BF6}"/>
              </a:ext>
            </a:extLst>
          </p:cNvPr>
          <p:cNvSpPr txBox="1"/>
          <p:nvPr/>
        </p:nvSpPr>
        <p:spPr>
          <a:xfrm>
            <a:off x="252076" y="6023223"/>
            <a:ext cx="1156130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Počet zdravotnických pracovníků (ZP) dle hlášení povinných subjektů do Národního registru zdravotnických pracovníků – NRZP (vzdělávací instituce, poskytovatelé). Celkový počet ZP zahrnuje osoby s odpovídající odbornou způsobilostí pro výkony ZP a žijící k danému datu. V této analýze jsou zahrnuti ZP, u kterých poskytovatelé zdravotních služeb nahlásili jejich aktivní výkon zaměstnání </a:t>
            </a:r>
            <a:r>
              <a:rPr lang="pl-PL" sz="1100" dirty="0"/>
              <a:t>v období od 1.9.2021 do současnosti </a:t>
            </a:r>
            <a:r>
              <a:rPr lang="cs-CZ" sz="1100" dirty="0"/>
              <a:t>(v ambulantním sektoru mohou být tyto počty mírně nedohlášené). </a:t>
            </a:r>
          </a:p>
        </p:txBody>
      </p:sp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4567601D-A50C-4550-904F-A1C3633503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0157879"/>
              </p:ext>
            </p:extLst>
          </p:nvPr>
        </p:nvGraphicFramePr>
        <p:xfrm>
          <a:off x="315344" y="958340"/>
          <a:ext cx="11561311" cy="4698672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1744287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3216406433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1759659700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2767492860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773291409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3497186403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843981191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3182885545"/>
                    </a:ext>
                  </a:extLst>
                </a:gridCol>
              </a:tblGrid>
              <a:tr h="61364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Zdravotničtí pracovníci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ékaři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včetně zubních lékařů)</a:t>
                      </a:r>
                      <a:endParaRPr lang="cs-CZ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stry</a:t>
                      </a:r>
                      <a:r>
                        <a:rPr lang="cs-CZ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tatní zdravotničtí pracovníci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NLZP § 7 až § 42 kromě § 21b, farmaceuti)</a:t>
                      </a:r>
                      <a:endParaRPr lang="cs-CZ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3287447"/>
                  </a:ext>
                </a:extLst>
              </a:tr>
              <a:tr h="60099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raj podle místa působení*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Hlavní město Prah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7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7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0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8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Středoče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8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Jihoče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Plzeň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arlovar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Ústec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Liber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álovéhrad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7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19525594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Pardubi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350366277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aj Vysočin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255710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Jihomorav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4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27962169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Olomou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893644269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Zlín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56090642"/>
                  </a:ext>
                </a:extLst>
              </a:tr>
              <a:tr h="23355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 dirty="0">
                          <a:effectLst/>
                        </a:rPr>
                        <a:t>Moravskoslez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4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22116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CELKEM**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1 1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 7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 0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9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 5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7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 6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0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07918BD6-47A7-4629-B00F-7C350B485540}"/>
              </a:ext>
            </a:extLst>
          </p:cNvPr>
          <p:cNvSpPr/>
          <p:nvPr/>
        </p:nvSpPr>
        <p:spPr>
          <a:xfrm>
            <a:off x="1752601" y="6566046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0106F417-40A8-41A4-A3D6-B22D419501BE}"/>
              </a:ext>
            </a:extLst>
          </p:cNvPr>
          <p:cNvSpPr/>
          <p:nvPr/>
        </p:nvSpPr>
        <p:spPr>
          <a:xfrm>
            <a:off x="252076" y="5668681"/>
            <a:ext cx="9158276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100" dirty="0"/>
              <a:t>* Přeočkování posilující dávkou je možné pro osoby, které mají nejméně 6 měsíců (v této analýze 182 dnů) po aplikaci ukončovací (druhé) dávky.</a:t>
            </a:r>
          </a:p>
          <a:p>
            <a:r>
              <a:rPr lang="cs-CZ" sz="1100" dirty="0"/>
              <a:t>** Jeden zdravotnický pracovník může působit ve více krajích, do celkového počtu je zahrnut pouze jednou. </a:t>
            </a:r>
          </a:p>
        </p:txBody>
      </p:sp>
    </p:spTree>
    <p:extLst>
      <p:ext uri="{BB962C8B-B14F-4D97-AF65-F5344CB8AC3E}">
        <p14:creationId xmlns:p14="http://schemas.microsoft.com/office/powerpoint/2010/main" val="34192678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11971" y="5699414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 Jedna osoba může být evidována na více typech pracovních pozic uvedených ve výstupu, v celkovém součtu je zahrnuta pouze jednou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37535" y="592671"/>
            <a:ext cx="114541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2. 12. 2021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94621"/>
            <a:ext cx="828039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36579048-BB0C-4A41-91BF-EE6AEF0D25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2262503"/>
              </p:ext>
            </p:extLst>
          </p:nvPr>
        </p:nvGraphicFramePr>
        <p:xfrm>
          <a:off x="337535" y="1200434"/>
          <a:ext cx="11516932" cy="4496159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2910490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1104900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853433740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1897229050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4290228433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1516975932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50319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dirty="0"/>
                        <a:t>Zdravotničtí pracovníci evidovaní v NZIS podle pracovních pozic*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effectLst/>
                        </a:rPr>
                        <a:t>Počet zdravotnických pracovníků**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Očkovaní celkem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S posilující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S ukončovací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Pouze s 1.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Prodělali onemocnění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Ostatní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35428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včetně zubních lékařů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1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737 (87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990 (53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207 (33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0 (1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59 (2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77 (9,9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5101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§ 5 Všeobecná sestra, § 5a Dětská sestra, § 6 Porodní asistentka, § 21b Praktická sestra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 8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 486 (82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728 (36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586 (44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72 (2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18 (7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26 (10,2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35428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 8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 354 (79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005 (3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453 (47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96 (2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49 (7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839 (12,9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3631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21 (78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49 (3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58 (46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4 (2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7 (6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98 (14,7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90077023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03 (78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91 (26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91 (49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 (2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2 (9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5 (12,0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52189762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39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580 (81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98 (30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256 (48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6 (2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22 (7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96 (11,4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96871678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64 (85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53 (43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48 (40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 (1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7 (5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8 (9,5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49172008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58 (75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02 (24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52 (48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 (2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4 (8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98 (16,2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46653829"/>
                  </a:ext>
                </a:extLst>
              </a:tr>
              <a:tr h="462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  <a:p>
                      <a:pPr algn="l" fontAlgn="ctr"/>
                      <a:r>
                        <a:rPr lang="cs-C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§ 8 Radiologický asistent, § 9 Zdravotní laborant, § 26 Odborný pracovník v laboratorních metodách a v přípravě léčivých přípravků, § 30 Laboratorní asistent, § 41 Autoptický laborant)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898 (81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68 (32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41 (47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9 (2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14 (6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93 (11,6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84958823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1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947 (80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14 (30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996 (47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7 (2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87 (6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14 (13,3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24713135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u="none" strike="noStrike" dirty="0">
                          <a:effectLst/>
                        </a:rPr>
                        <a:t>CELKEM**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8 8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5 577 (82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3 723 (37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7 246 (43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 608 (1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 526 (6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7 742 (11,1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467815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11971" y="5699414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 Jedna osoba může být evidována na více typech pracovních pozic uvedených ve výstupu, v celkovém součtu je zahrnuta pouze jednou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37535" y="592671"/>
            <a:ext cx="114541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2. 12. 2021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94621"/>
            <a:ext cx="828039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57D8B5EC-D4C4-4142-B9B3-D668437D750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29907776"/>
              </p:ext>
            </p:extLst>
          </p:nvPr>
        </p:nvGraphicFramePr>
        <p:xfrm>
          <a:off x="847725" y="981075"/>
          <a:ext cx="10696575" cy="4924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5E273B3-595D-4506-8111-3C0DC2F8EF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1281928"/>
              </p:ext>
            </p:extLst>
          </p:nvPr>
        </p:nvGraphicFramePr>
        <p:xfrm>
          <a:off x="11229975" y="1724026"/>
          <a:ext cx="824515" cy="3975389"/>
        </p:xfrm>
        <a:graphic>
          <a:graphicData uri="http://schemas.openxmlformats.org/drawingml/2006/table">
            <a:tbl>
              <a:tblPr firstRow="1" lastRow="1" bandRow="1"/>
              <a:tblGrid>
                <a:gridCol w="824515">
                  <a:extLst>
                    <a:ext uri="{9D8B030D-6E8A-4147-A177-3AD203B41FA5}">
                      <a16:colId xmlns:a16="http://schemas.microsoft.com/office/drawing/2014/main" val="2631467471"/>
                    </a:ext>
                  </a:extLst>
                </a:gridCol>
              </a:tblGrid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52 1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0562307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04 8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5743896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1 8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5828545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4 2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18676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5 6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7157132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5 3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065932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4 5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82687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2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828598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4 6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471299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1 1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1670276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48 8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601955"/>
                  </a:ext>
                </a:extLst>
              </a:tr>
            </a:tbl>
          </a:graphicData>
        </a:graphic>
      </p:graphicFrame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4AA833D1-7B4A-4D1C-A2B1-06653D5E7670}"/>
              </a:ext>
            </a:extLst>
          </p:cNvPr>
          <p:cNvGraphicFramePr>
            <a:graphicFrameLocks noGrp="1"/>
          </p:cNvGraphicFramePr>
          <p:nvPr/>
        </p:nvGraphicFramePr>
        <p:xfrm>
          <a:off x="257786" y="1724025"/>
          <a:ext cx="2342539" cy="39753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42539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</a:tblGrid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včetně zubních lékařů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§ 5 Všeobecná sestra, § 5a Dětská sestra, § 6 Porodní asistentka, § 21b Praktická sestra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0077023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2189762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687167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917200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665382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4958823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4713135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CELKEM**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55177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" val="{&quot;SavedSwatch&quot;:&quot;-16748873|-10780376|-3468525|-5151986|-9539986|Markido&quot;,&quot;Id&quot;:&quot;60abf0963433422b508f8030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2F500C3B-2BAF-4CA5-849A-B1EC376A25DB}" vid="{C99570C5-ACCF-4382-8246-136F83C28052}"/>
    </a:ext>
  </a:extLst>
</a:theme>
</file>

<file path=ppt/theme/theme2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039</TotalTime>
  <Words>10105</Words>
  <Application>Microsoft Office PowerPoint</Application>
  <PresentationFormat>Širokoúhlá obrazovka</PresentationFormat>
  <Paragraphs>2200</Paragraphs>
  <Slides>44</Slides>
  <Notes>27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3</vt:i4>
      </vt:variant>
      <vt:variant>
        <vt:lpstr>Nadpisy snímků</vt:lpstr>
      </vt:variant>
      <vt:variant>
        <vt:i4>44</vt:i4>
      </vt:variant>
    </vt:vector>
  </HeadingPairs>
  <TitlesOfParts>
    <vt:vector size="50" baseType="lpstr">
      <vt:lpstr>Calibri</vt:lpstr>
      <vt:lpstr>Arial</vt:lpstr>
      <vt:lpstr>Calibri Light</vt:lpstr>
      <vt:lpstr>Motiv Office</vt:lpstr>
      <vt:lpstr>3_Motiv Office</vt:lpstr>
      <vt:lpstr>1_Motiv Office</vt:lpstr>
      <vt:lpstr>Prezentace aplikace PowerPoint</vt:lpstr>
      <vt:lpstr>Prezentace aplikace PowerPoint</vt:lpstr>
      <vt:lpstr>Očkování zdravotnických pracovníků </vt:lpstr>
      <vt:lpstr>Očkovaní zdravotničtí pracovníci celkem</vt:lpstr>
      <vt:lpstr>Očkovaní aktivní zdravotničtí pracovníci</vt:lpstr>
      <vt:lpstr>Očkování zdravotnických pracovníků – počty očkovaných v čase</vt:lpstr>
      <vt:lpstr>Vakcinace posilující dávkou</vt:lpstr>
      <vt:lpstr>Očkovaní aktivní zdravotničtí pracovníci</vt:lpstr>
      <vt:lpstr>Očkovaní aktivní zdravotničtí pracovníci</vt:lpstr>
      <vt:lpstr>Očkování zdravotnických pracovníků </vt:lpstr>
      <vt:lpstr>Očkovaní zdravotníci v nemocnicích akutní lůžkové péče a ZZS</vt:lpstr>
      <vt:lpstr>Očkování zdravotnických pracovníků </vt:lpstr>
      <vt:lpstr>Přehled povolání u COVID-19 pozitivních ostatních zdravotnických pracovníků za období 01-12 / 2021 k 2. 12.</vt:lpstr>
      <vt:lpstr>Přehled povolání u COVID-19 pozitivních ostatních zdravotnických pracovníků za období 10-12 / 2021 k 2. 12.</vt:lpstr>
      <vt:lpstr>Očkovaní aktivní zdravotničtí pracovníci</vt:lpstr>
      <vt:lpstr>Očkovaní NLZP v nemocnicích akutní lůžkové péče a ZZS</vt:lpstr>
      <vt:lpstr>Očkovaní lékaři* podle typu zdravotnického zařízení</vt:lpstr>
      <vt:lpstr>Očkované sestry* podle typu zdravotnického zařízení</vt:lpstr>
      <vt:lpstr>Očkovaní ostatní ZP* podle typu zdravotnického zařízení</vt:lpstr>
      <vt:lpstr>Prezentace aplikace PowerPoint</vt:lpstr>
      <vt:lpstr>Počty pracovníků ve zdravotnictví s nákazou COVID-19</vt:lpstr>
      <vt:lpstr>Počty pracovníků ve zdravotnictví s nákazou COVID-19</vt:lpstr>
      <vt:lpstr>Prezentace aplikace PowerPoint</vt:lpstr>
      <vt:lpstr>Počty COVID-19 pozitivních na 100 000 osob v populaci lékařů</vt:lpstr>
      <vt:lpstr>Prezentace aplikace PowerPoint</vt:lpstr>
      <vt:lpstr>Počty COVID-19 pozitivních na 100 000 osob v populaci sester</vt:lpstr>
      <vt:lpstr>Prezentace aplikace PowerPoint</vt:lpstr>
      <vt:lpstr>Počty COVID-19 pozitivních na 100 000 osob v populaci ostatních ZP</vt:lpstr>
      <vt:lpstr>Prezentace aplikace PowerPoint</vt:lpstr>
      <vt:lpstr>Počty pracovníků ve zdravotnictví s nákazou COVID-19</vt:lpstr>
      <vt:lpstr>Počty pracovníků ve zdravotnictví (ZP) s nákazou COVID-19</vt:lpstr>
      <vt:lpstr>Prezentace aplikace PowerPoint</vt:lpstr>
      <vt:lpstr>Počet nových případů COVID-19 na 100 tis. dané kategorie v populaci lékařů</vt:lpstr>
      <vt:lpstr>Prezentace aplikace PowerPoint</vt:lpstr>
      <vt:lpstr>Počet nových případů COVID-19 na 100 tis. dané kategorie v populaci sester</vt:lpstr>
      <vt:lpstr>Prezentace aplikace PowerPoint</vt:lpstr>
      <vt:lpstr>Počet nových případů COVID-19 na 100 tis. dané kategorie: populace ostatních ZP</vt:lpstr>
      <vt:lpstr>Prezentace aplikace PowerPoint</vt:lpstr>
      <vt:lpstr>Počet nových případů COVID-19 na 100 tis. dané kategorie v populaci ZP celkem </vt:lpstr>
      <vt:lpstr>Prezentace aplikace PowerPoint</vt:lpstr>
      <vt:lpstr>Prezentace aplikace PowerPoint</vt:lpstr>
      <vt:lpstr>Počty pracovníků v zařízeních sociálních služeb  s nákazou COVID-19</vt:lpstr>
      <vt:lpstr>Počty nově COVID-19 pozitivních pracovníků  v zařízeních sociálních služeb</vt:lpstr>
      <vt:lpstr>Počty COVID-19 pozitivních na 100 000 osob v populaci pracovníků v sociálních službách*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Dušek Ladislav prof. RNDr. Ph.D.</cp:lastModifiedBy>
  <cp:revision>796</cp:revision>
  <dcterms:created xsi:type="dcterms:W3CDTF">2020-11-11T17:36:28Z</dcterms:created>
  <dcterms:modified xsi:type="dcterms:W3CDTF">2021-12-04T18:26:42Z</dcterms:modified>
</cp:coreProperties>
</file>